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4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F797B0"/>
    <a:srgbClr val="CDD1D9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34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0.10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Lotyšsko</c:v>
                </c:pt>
                <c:pt idx="1">
                  <c:v>Estonsko</c:v>
                </c:pt>
                <c:pt idx="2">
                  <c:v>Litva</c:v>
                </c:pt>
                <c:pt idx="3">
                  <c:v>Rumunsko</c:v>
                </c:pt>
                <c:pt idx="4">
                  <c:v>Slovinsko</c:v>
                </c:pt>
                <c:pt idx="5">
                  <c:v>Velká Británie</c:v>
                </c:pt>
                <c:pt idx="6">
                  <c:v>Chorvatsko</c:v>
                </c:pt>
                <c:pt idx="7">
                  <c:v>Bulharsko</c:v>
                </c:pt>
                <c:pt idx="8">
                  <c:v>Slovensko</c:v>
                </c:pt>
                <c:pt idx="9">
                  <c:v>Irsko</c:v>
                </c:pt>
                <c:pt idx="10">
                  <c:v>Rakousko</c:v>
                </c:pt>
                <c:pt idx="11">
                  <c:v>Belgie</c:v>
                </c:pt>
                <c:pt idx="12">
                  <c:v>Řecko</c:v>
                </c:pt>
                <c:pt idx="13">
                  <c:v>Nizozemsko</c:v>
                </c:pt>
                <c:pt idx="14">
                  <c:v>Česká republika</c:v>
                </c:pt>
                <c:pt idx="15">
                  <c:v>Lucembursko</c:v>
                </c:pt>
                <c:pt idx="16">
                  <c:v>Island</c:v>
                </c:pt>
                <c:pt idx="17">
                  <c:v>Dánsko</c:v>
                </c:pt>
                <c:pt idx="18">
                  <c:v>Maďarsko</c:v>
                </c:pt>
                <c:pt idx="19">
                  <c:v>Lichtenštejnsko</c:v>
                </c:pt>
                <c:pt idx="20">
                  <c:v>Kypr</c:v>
                </c:pt>
                <c:pt idx="21">
                  <c:v>Německo</c:v>
                </c:pt>
                <c:pt idx="22">
                  <c:v>Polsko</c:v>
                </c:pt>
                <c:pt idx="23">
                  <c:v>Norsko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Švédsko</c:v>
                </c:pt>
                <c:pt idx="28">
                  <c:v>Itálie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864.40300365628309</c:v>
                </c:pt>
                <c:pt idx="1">
                  <c:v>859.6844487786085</c:v>
                </c:pt>
                <c:pt idx="2">
                  <c:v>947.1777931276373</c:v>
                </c:pt>
                <c:pt idx="3">
                  <c:v>870.3368510823052</c:v>
                </c:pt>
                <c:pt idx="4">
                  <c:v>557.62285762271449</c:v>
                </c:pt>
                <c:pt idx="5">
                  <c:v>778.04887735374962</c:v>
                </c:pt>
                <c:pt idx="6">
                  <c:v>441.57889095194508</c:v>
                </c:pt>
                <c:pt idx="7">
                  <c:v>401.00801526926199</c:v>
                </c:pt>
                <c:pt idx="8">
                  <c:v>359.99371916495676</c:v>
                </c:pt>
                <c:pt idx="9">
                  <c:v>378.69326651142927</c:v>
                </c:pt>
                <c:pt idx="10">
                  <c:v>284.95469755076471</c:v>
                </c:pt>
                <c:pt idx="11">
                  <c:v>244.0368533053763</c:v>
                </c:pt>
                <c:pt idx="12">
                  <c:v>281.59553074502043</c:v>
                </c:pt>
                <c:pt idx="13">
                  <c:v>159.02837757219052</c:v>
                </c:pt>
                <c:pt idx="14">
                  <c:v>97.634744316383319</c:v>
                </c:pt>
                <c:pt idx="15">
                  <c:v>211.94426520664166</c:v>
                </c:pt>
                <c:pt idx="16">
                  <c:v>142.8045719432956</c:v>
                </c:pt>
                <c:pt idx="17">
                  <c:v>121.43719399192446</c:v>
                </c:pt>
                <c:pt idx="18">
                  <c:v>83.903763601222821</c:v>
                </c:pt>
                <c:pt idx="19">
                  <c:v>49.036054404211939</c:v>
                </c:pt>
                <c:pt idx="20">
                  <c:v>154.16579861599877</c:v>
                </c:pt>
                <c:pt idx="21">
                  <c:v>137.40112916092113</c:v>
                </c:pt>
                <c:pt idx="22">
                  <c:v>51.772824051590725</c:v>
                </c:pt>
                <c:pt idx="23">
                  <c:v>120.89246923194439</c:v>
                </c:pt>
                <c:pt idx="24">
                  <c:v>139.86591115908445</c:v>
                </c:pt>
                <c:pt idx="25">
                  <c:v>92.994354028810605</c:v>
                </c:pt>
                <c:pt idx="26">
                  <c:v>81.731491605063724</c:v>
                </c:pt>
                <c:pt idx="27">
                  <c:v>81.141881227070513</c:v>
                </c:pt>
                <c:pt idx="28">
                  <c:v>64.869273549982523</c:v>
                </c:pt>
                <c:pt idx="29">
                  <c:v>46.785922281832988</c:v>
                </c:pt>
                <c:pt idx="30">
                  <c:v>49.55651775095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4.10.202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Lotyšsko</c:v>
                </c:pt>
                <c:pt idx="1">
                  <c:v>Estonsko</c:v>
                </c:pt>
                <c:pt idx="2">
                  <c:v>Litva</c:v>
                </c:pt>
                <c:pt idx="3">
                  <c:v>Rumunsko</c:v>
                </c:pt>
                <c:pt idx="4">
                  <c:v>Slovinsko</c:v>
                </c:pt>
                <c:pt idx="5">
                  <c:v>Velká Británie</c:v>
                </c:pt>
                <c:pt idx="6">
                  <c:v>Chorvatsko</c:v>
                </c:pt>
                <c:pt idx="7">
                  <c:v>Bulharsko</c:v>
                </c:pt>
                <c:pt idx="8">
                  <c:v>Slovensko</c:v>
                </c:pt>
                <c:pt idx="9">
                  <c:v>Irsko</c:v>
                </c:pt>
                <c:pt idx="10">
                  <c:v>Rakousko</c:v>
                </c:pt>
                <c:pt idx="11">
                  <c:v>Belgie</c:v>
                </c:pt>
                <c:pt idx="12">
                  <c:v>Řecko</c:v>
                </c:pt>
                <c:pt idx="13">
                  <c:v>Nizozemsko</c:v>
                </c:pt>
                <c:pt idx="14">
                  <c:v>Česká republika</c:v>
                </c:pt>
                <c:pt idx="15">
                  <c:v>Lucembursko</c:v>
                </c:pt>
                <c:pt idx="16">
                  <c:v>Island</c:v>
                </c:pt>
                <c:pt idx="17">
                  <c:v>Dánsko</c:v>
                </c:pt>
                <c:pt idx="18">
                  <c:v>Maďarsko</c:v>
                </c:pt>
                <c:pt idx="19">
                  <c:v>Lichtenštejnsko</c:v>
                </c:pt>
                <c:pt idx="20">
                  <c:v>Kypr</c:v>
                </c:pt>
                <c:pt idx="21">
                  <c:v>Německo</c:v>
                </c:pt>
                <c:pt idx="22">
                  <c:v>Polsko</c:v>
                </c:pt>
                <c:pt idx="23">
                  <c:v>Norsko</c:v>
                </c:pt>
                <c:pt idx="24">
                  <c:v>Finsko</c:v>
                </c:pt>
                <c:pt idx="25">
                  <c:v>Francie</c:v>
                </c:pt>
                <c:pt idx="26">
                  <c:v>Portugalsko</c:v>
                </c:pt>
                <c:pt idx="27">
                  <c:v>Švédsko</c:v>
                </c:pt>
                <c:pt idx="28">
                  <c:v>Itálie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640.5834327125951</c:v>
                </c:pt>
                <c:pt idx="1">
                  <c:v>1353.4480682871624</c:v>
                </c:pt>
                <c:pt idx="2">
                  <c:v>1320.2509582726398</c:v>
                </c:pt>
                <c:pt idx="3">
                  <c:v>1060.5034818958077</c:v>
                </c:pt>
                <c:pt idx="4">
                  <c:v>905.16498947210721</c:v>
                </c:pt>
                <c:pt idx="5">
                  <c:v>852.05137718246658</c:v>
                </c:pt>
                <c:pt idx="6">
                  <c:v>689.40025849121457</c:v>
                </c:pt>
                <c:pt idx="7">
                  <c:v>688.08349068587097</c:v>
                </c:pt>
                <c:pt idx="8">
                  <c:v>656.40955734953889</c:v>
                </c:pt>
                <c:pt idx="9">
                  <c:v>548.48079541700577</c:v>
                </c:pt>
                <c:pt idx="10">
                  <c:v>442.45272250598356</c:v>
                </c:pt>
                <c:pt idx="11">
                  <c:v>391.78333755697577</c:v>
                </c:pt>
                <c:pt idx="12">
                  <c:v>370.94517782930831</c:v>
                </c:pt>
                <c:pt idx="13">
                  <c:v>335.69274543252266</c:v>
                </c:pt>
                <c:pt idx="14">
                  <c:v>291.10882341857382</c:v>
                </c:pt>
                <c:pt idx="15">
                  <c:v>290.20552364767741</c:v>
                </c:pt>
                <c:pt idx="16">
                  <c:v>246.61251077899897</c:v>
                </c:pt>
                <c:pt idx="17">
                  <c:v>234.95718441571469</c:v>
                </c:pt>
                <c:pt idx="18">
                  <c:v>215.52734492952882</c:v>
                </c:pt>
                <c:pt idx="19">
                  <c:v>209.04844246006144</c:v>
                </c:pt>
                <c:pt idx="20">
                  <c:v>197.40879837388303</c:v>
                </c:pt>
                <c:pt idx="21">
                  <c:v>188.28927838687764</c:v>
                </c:pt>
                <c:pt idx="22">
                  <c:v>138.51048225811286</c:v>
                </c:pt>
                <c:pt idx="23">
                  <c:v>133.20714362897246</c:v>
                </c:pt>
                <c:pt idx="24">
                  <c:v>131.97492548810089</c:v>
                </c:pt>
                <c:pt idx="25">
                  <c:v>101.45540828330083</c:v>
                </c:pt>
                <c:pt idx="26">
                  <c:v>93.804247881367246</c:v>
                </c:pt>
                <c:pt idx="27">
                  <c:v>89.817671869010269</c:v>
                </c:pt>
                <c:pt idx="28">
                  <c:v>59.27082168037122</c:v>
                </c:pt>
                <c:pt idx="29">
                  <c:v>39.036508737928564</c:v>
                </c:pt>
                <c:pt idx="30">
                  <c:v>37.70182134778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I$2:$I$43</c:f>
              <c:numCache>
                <c:formatCode>General</c:formatCode>
                <c:ptCount val="42"/>
                <c:pt idx="0">
                  <c:v>3.349984899031802</c:v>
                </c:pt>
                <c:pt idx="1">
                  <c:v>2.9681213354115967</c:v>
                </c:pt>
                <c:pt idx="2">
                  <c:v>3.2371615734167416</c:v>
                </c:pt>
                <c:pt idx="3">
                  <c:v>2.5428641850163682</c:v>
                </c:pt>
                <c:pt idx="4">
                  <c:v>2.5515429023713727</c:v>
                </c:pt>
                <c:pt idx="5">
                  <c:v>2.4213621420463025</c:v>
                </c:pt>
                <c:pt idx="6">
                  <c:v>1.8225306445509806</c:v>
                </c:pt>
                <c:pt idx="7">
                  <c:v>1.4753819503507937</c:v>
                </c:pt>
                <c:pt idx="8">
                  <c:v>1.4840606677057984</c:v>
                </c:pt>
                <c:pt idx="9">
                  <c:v>1.4840606677057984</c:v>
                </c:pt>
                <c:pt idx="10">
                  <c:v>1.5448116891908312</c:v>
                </c:pt>
                <c:pt idx="11">
                  <c:v>1.6315988627408777</c:v>
                </c:pt>
                <c:pt idx="12">
                  <c:v>2.2217516428811952</c:v>
                </c:pt>
                <c:pt idx="13">
                  <c:v>2.4821131635313352</c:v>
                </c:pt>
                <c:pt idx="14">
                  <c:v>2.2738239470112234</c:v>
                </c:pt>
                <c:pt idx="15">
                  <c:v>2.3692898379162748</c:v>
                </c:pt>
                <c:pt idx="16">
                  <c:v>2.2043942081711858</c:v>
                </c:pt>
                <c:pt idx="17">
                  <c:v>2.2130729255261907</c:v>
                </c:pt>
                <c:pt idx="18">
                  <c:v>1.2150204297006537</c:v>
                </c:pt>
                <c:pt idx="19">
                  <c:v>1.1195545387956023</c:v>
                </c:pt>
                <c:pt idx="20">
                  <c:v>0.85051430079045764</c:v>
                </c:pt>
                <c:pt idx="21">
                  <c:v>0.72901225782039214</c:v>
                </c:pt>
                <c:pt idx="22">
                  <c:v>0.43393586775023346</c:v>
                </c:pt>
                <c:pt idx="23">
                  <c:v>0.35582741155519143</c:v>
                </c:pt>
                <c:pt idx="24">
                  <c:v>0.19961049916510737</c:v>
                </c:pt>
                <c:pt idx="25">
                  <c:v>0.1735743471000934</c:v>
                </c:pt>
                <c:pt idx="26">
                  <c:v>8.6787173550046698E-2</c:v>
                </c:pt>
                <c:pt idx="27">
                  <c:v>6.0751021485032683E-2</c:v>
                </c:pt>
                <c:pt idx="28">
                  <c:v>9.5465890905051351E-2</c:v>
                </c:pt>
                <c:pt idx="29">
                  <c:v>0.18225306445509803</c:v>
                </c:pt>
                <c:pt idx="30">
                  <c:v>0.19961049916510737</c:v>
                </c:pt>
                <c:pt idx="31">
                  <c:v>0.1909317818101027</c:v>
                </c:pt>
                <c:pt idx="32">
                  <c:v>0.35582741155519143</c:v>
                </c:pt>
                <c:pt idx="33">
                  <c:v>0.2777189553601494</c:v>
                </c:pt>
                <c:pt idx="34">
                  <c:v>0.34714869420018679</c:v>
                </c:pt>
                <c:pt idx="35">
                  <c:v>0.41657843304022413</c:v>
                </c:pt>
                <c:pt idx="36">
                  <c:v>0.3384699768451821</c:v>
                </c:pt>
                <c:pt idx="37">
                  <c:v>0.46865073717025213</c:v>
                </c:pt>
                <c:pt idx="38">
                  <c:v>0.48600817188026146</c:v>
                </c:pt>
                <c:pt idx="39">
                  <c:v>0.53808047601028952</c:v>
                </c:pt>
                <c:pt idx="40">
                  <c:v>0.78976327930542489</c:v>
                </c:pt>
                <c:pt idx="41">
                  <c:v>0.83315686608044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C$2:$C$43</c:f>
              <c:numCache>
                <c:formatCode>General</c:formatCode>
                <c:ptCount val="42"/>
                <c:pt idx="0">
                  <c:v>11.455086848728051</c:v>
                </c:pt>
                <c:pt idx="1">
                  <c:v>10.875319187812835</c:v>
                </c:pt>
                <c:pt idx="2">
                  <c:v>9.7251349572874872</c:v>
                </c:pt>
                <c:pt idx="3">
                  <c:v>9.1173140224570197</c:v>
                </c:pt>
                <c:pt idx="4">
                  <c:v>8.5936529093723077</c:v>
                </c:pt>
                <c:pt idx="5">
                  <c:v>8.8180791006943284</c:v>
                </c:pt>
                <c:pt idx="6">
                  <c:v>10.18333843123661</c:v>
                </c:pt>
                <c:pt idx="7">
                  <c:v>11.286767205236536</c:v>
                </c:pt>
                <c:pt idx="8">
                  <c:v>13.17568764886353</c:v>
                </c:pt>
                <c:pt idx="9">
                  <c:v>14.419382792439718</c:v>
                </c:pt>
                <c:pt idx="10">
                  <c:v>13.241145287999119</c:v>
                </c:pt>
                <c:pt idx="11">
                  <c:v>11.230660657406032</c:v>
                </c:pt>
                <c:pt idx="12">
                  <c:v>9.6316240442366468</c:v>
                </c:pt>
                <c:pt idx="13">
                  <c:v>7.3780110397113736</c:v>
                </c:pt>
                <c:pt idx="14">
                  <c:v>5.3020687699826983</c:v>
                </c:pt>
                <c:pt idx="15">
                  <c:v>3.8994050742200792</c:v>
                </c:pt>
                <c:pt idx="16">
                  <c:v>3.113913404593013</c:v>
                </c:pt>
                <c:pt idx="17">
                  <c:v>2.3751771914913671</c:v>
                </c:pt>
                <c:pt idx="18">
                  <c:v>1.5522811566439643</c:v>
                </c:pt>
                <c:pt idx="19">
                  <c:v>0.9725134957287487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431283739321872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5.6106547830504741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7.4808730440672988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8625674786437439</c:v>
                </c:pt>
                <c:pt idx="41">
                  <c:v>0.71068293918639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D$2:$D$43</c:f>
              <c:numCache>
                <c:formatCode>General</c:formatCode>
                <c:ptCount val="42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55850658589687</c:v>
                </c:pt>
                <c:pt idx="7">
                  <c:v>3.2382546128491332</c:v>
                </c:pt>
                <c:pt idx="8">
                  <c:v>3.0822836337898853</c:v>
                </c:pt>
                <c:pt idx="9">
                  <c:v>2.80747762306645</c:v>
                </c:pt>
                <c:pt idx="10">
                  <c:v>2.7213222251099136</c:v>
                </c:pt>
                <c:pt idx="11">
                  <c:v>2.7747979893587984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15650989592785</c:v>
                </c:pt>
                <c:pt idx="15">
                  <c:v>3.1105069538101304</c:v>
                </c:pt>
                <c:pt idx="16">
                  <c:v>2.95899228843829</c:v>
                </c:pt>
                <c:pt idx="17">
                  <c:v>2.3068850521810567</c:v>
                </c:pt>
                <c:pt idx="18">
                  <c:v>1.8166905465662795</c:v>
                </c:pt>
                <c:pt idx="19">
                  <c:v>1.4364184452408768</c:v>
                </c:pt>
                <c:pt idx="20">
                  <c:v>1.1779522513712672</c:v>
                </c:pt>
                <c:pt idx="21">
                  <c:v>0.88235011010659858</c:v>
                </c:pt>
                <c:pt idx="22">
                  <c:v>0.56743727619649942</c:v>
                </c:pt>
                <c:pt idx="23">
                  <c:v>0.48573819192736994</c:v>
                </c:pt>
                <c:pt idx="24">
                  <c:v>0.36096140867997217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241761909973669</c:v>
                </c:pt>
                <c:pt idx="29">
                  <c:v>0.42929155188688051</c:v>
                </c:pt>
                <c:pt idx="30">
                  <c:v>0.52287413932242877</c:v>
                </c:pt>
                <c:pt idx="31">
                  <c:v>0.68924318365229253</c:v>
                </c:pt>
                <c:pt idx="32">
                  <c:v>1.2091464471831166</c:v>
                </c:pt>
                <c:pt idx="33">
                  <c:v>1.0932822913105329</c:v>
                </c:pt>
                <c:pt idx="34">
                  <c:v>1.0204958344162174</c:v>
                </c:pt>
                <c:pt idx="35">
                  <c:v>0.90611711643943627</c:v>
                </c:pt>
                <c:pt idx="36">
                  <c:v>0.72786456894315377</c:v>
                </c:pt>
                <c:pt idx="37">
                  <c:v>0.6045732235915583</c:v>
                </c:pt>
                <c:pt idx="38">
                  <c:v>0.47979644034416052</c:v>
                </c:pt>
                <c:pt idx="39">
                  <c:v>0.36690316026318159</c:v>
                </c:pt>
                <c:pt idx="40">
                  <c:v>0.31194195811849446</c:v>
                </c:pt>
                <c:pt idx="41">
                  <c:v>0.2970875791604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F$2:$F$43</c:f>
              <c:numCache>
                <c:formatCode>General</c:formatCode>
                <c:ptCount val="42"/>
                <c:pt idx="0">
                  <c:v>5.5481513137297984</c:v>
                </c:pt>
                <c:pt idx="1">
                  <c:v>5.4743771651035935</c:v>
                </c:pt>
                <c:pt idx="2">
                  <c:v>5.2564080896170795</c:v>
                </c:pt>
                <c:pt idx="3">
                  <c:v>4.7466957900178475</c:v>
                </c:pt>
                <c:pt idx="4">
                  <c:v>4.3090809538487704</c:v>
                </c:pt>
                <c:pt idx="5">
                  <c:v>3.5378057636657219</c:v>
                </c:pt>
                <c:pt idx="6">
                  <c:v>3.4875052077842188</c:v>
                </c:pt>
                <c:pt idx="7">
                  <c:v>3.403670947981714</c:v>
                </c:pt>
                <c:pt idx="8">
                  <c:v>3.7557748391522359</c:v>
                </c:pt>
                <c:pt idx="9">
                  <c:v>4.1363823786556093</c:v>
                </c:pt>
                <c:pt idx="10">
                  <c:v>4.7299289380573466</c:v>
                </c:pt>
                <c:pt idx="11">
                  <c:v>4.9831084026609131</c:v>
                </c:pt>
                <c:pt idx="12">
                  <c:v>5.1407168110896224</c:v>
                </c:pt>
                <c:pt idx="13">
                  <c:v>4.897597457662358</c:v>
                </c:pt>
                <c:pt idx="14">
                  <c:v>4.0793750819899062</c:v>
                </c:pt>
                <c:pt idx="15">
                  <c:v>3.645113616212929</c:v>
                </c:pt>
                <c:pt idx="16">
                  <c:v>2.959349371028436</c:v>
                </c:pt>
                <c:pt idx="17">
                  <c:v>2.4077199415279513</c:v>
                </c:pt>
                <c:pt idx="18">
                  <c:v>1.8913009011445188</c:v>
                </c:pt>
                <c:pt idx="19">
                  <c:v>1.3530849532124349</c:v>
                </c:pt>
                <c:pt idx="20">
                  <c:v>0.95068050616040967</c:v>
                </c:pt>
                <c:pt idx="21">
                  <c:v>0.68073418959634269</c:v>
                </c:pt>
                <c:pt idx="22">
                  <c:v>0.47953196607033011</c:v>
                </c:pt>
                <c:pt idx="23">
                  <c:v>0.35378057636657223</c:v>
                </c:pt>
                <c:pt idx="24">
                  <c:v>0.23138255705491453</c:v>
                </c:pt>
                <c:pt idx="25">
                  <c:v>0.17772863078131115</c:v>
                </c:pt>
                <c:pt idx="26">
                  <c:v>0.13581150088005853</c:v>
                </c:pt>
                <c:pt idx="27">
                  <c:v>0.10898453774325684</c:v>
                </c:pt>
                <c:pt idx="28">
                  <c:v>0.12239801931165768</c:v>
                </c:pt>
                <c:pt idx="29">
                  <c:v>0.15425503803660967</c:v>
                </c:pt>
                <c:pt idx="30">
                  <c:v>0.24814940901541555</c:v>
                </c:pt>
                <c:pt idx="31">
                  <c:v>0.38899096548362444</c:v>
                </c:pt>
                <c:pt idx="32">
                  <c:v>0.51809572557948247</c:v>
                </c:pt>
                <c:pt idx="33">
                  <c:v>0.59354655940173728</c:v>
                </c:pt>
                <c:pt idx="34">
                  <c:v>0.65893728204769131</c:v>
                </c:pt>
                <c:pt idx="35">
                  <c:v>0.65893728204769131</c:v>
                </c:pt>
                <c:pt idx="36">
                  <c:v>0.59857661498988757</c:v>
                </c:pt>
                <c:pt idx="37">
                  <c:v>0.55162942950048466</c:v>
                </c:pt>
                <c:pt idx="38">
                  <c:v>0.46108842891377899</c:v>
                </c:pt>
                <c:pt idx="39">
                  <c:v>0.36719405793497306</c:v>
                </c:pt>
                <c:pt idx="40">
                  <c:v>0.32192355764162023</c:v>
                </c:pt>
                <c:pt idx="41">
                  <c:v>0.271623001760117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K$2:$K$43</c:f>
              <c:numCache>
                <c:formatCode>General</c:formatCode>
                <c:ptCount val="42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3306684479881625</c:v>
                </c:pt>
                <c:pt idx="35">
                  <c:v>0.30707733415111438</c:v>
                </c:pt>
                <c:pt idx="36">
                  <c:v>0.38896462325807823</c:v>
                </c:pt>
                <c:pt idx="37">
                  <c:v>0.44014417894993063</c:v>
                </c:pt>
                <c:pt idx="38">
                  <c:v>0.70627786854756314</c:v>
                </c:pt>
                <c:pt idx="39">
                  <c:v>0.62439057944059928</c:v>
                </c:pt>
                <c:pt idx="40">
                  <c:v>1.1464220474974938</c:v>
                </c:pt>
                <c:pt idx="41">
                  <c:v>1.75034080466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E$2:$E$43</c:f>
              <c:numCache>
                <c:formatCode>General</c:formatCode>
                <c:ptCount val="42"/>
                <c:pt idx="0">
                  <c:v>6.6757479443908752</c:v>
                </c:pt>
                <c:pt idx="1">
                  <c:v>6.1563093435304896</c:v>
                </c:pt>
                <c:pt idx="2">
                  <c:v>5.8280530054867743</c:v>
                </c:pt>
                <c:pt idx="3">
                  <c:v>4.9887748957632825</c:v>
                </c:pt>
                <c:pt idx="4">
                  <c:v>4.0677333025710247</c:v>
                </c:pt>
                <c:pt idx="5">
                  <c:v>3.2561104887266734</c:v>
                </c:pt>
                <c:pt idx="6">
                  <c:v>2.481762204110729</c:v>
                </c:pt>
                <c:pt idx="7">
                  <c:v>2.0585159367430079</c:v>
                </c:pt>
                <c:pt idx="8">
                  <c:v>1.6484961152305277</c:v>
                </c:pt>
                <c:pt idx="9">
                  <c:v>1.4921835733049489</c:v>
                </c:pt>
                <c:pt idx="10">
                  <c:v>1.3478950730659529</c:v>
                </c:pt>
                <c:pt idx="11">
                  <c:v>1.460921064919833</c:v>
                </c:pt>
                <c:pt idx="12">
                  <c:v>1.6545081360738192</c:v>
                </c:pt>
                <c:pt idx="13">
                  <c:v>1.8444879947218307</c:v>
                </c:pt>
                <c:pt idx="14">
                  <c:v>1.8288567405292726</c:v>
                </c:pt>
                <c:pt idx="15">
                  <c:v>1.9238466698532783</c:v>
                </c:pt>
                <c:pt idx="16">
                  <c:v>1.9118226281666952</c:v>
                </c:pt>
                <c:pt idx="17">
                  <c:v>1.713425940338076</c:v>
                </c:pt>
                <c:pt idx="18">
                  <c:v>1.3755503689450939</c:v>
                </c:pt>
                <c:pt idx="19">
                  <c:v>1.1158310685149013</c:v>
                </c:pt>
                <c:pt idx="20">
                  <c:v>0.82364685553093475</c:v>
                </c:pt>
                <c:pt idx="21">
                  <c:v>0.56753476760671706</c:v>
                </c:pt>
                <c:pt idx="22">
                  <c:v>0.34749480474224836</c:v>
                </c:pt>
                <c:pt idx="23">
                  <c:v>0.28136257546604193</c:v>
                </c:pt>
                <c:pt idx="24">
                  <c:v>0.16112215860021203</c:v>
                </c:pt>
                <c:pt idx="25">
                  <c:v>0.1130259918538801</c:v>
                </c:pt>
                <c:pt idx="26">
                  <c:v>7.2144250119497932E-2</c:v>
                </c:pt>
                <c:pt idx="27">
                  <c:v>6.7334633444864733E-2</c:v>
                </c:pt>
                <c:pt idx="28">
                  <c:v>7.0941845950839633E-2</c:v>
                </c:pt>
                <c:pt idx="29">
                  <c:v>5.6512995926940049E-2</c:v>
                </c:pt>
                <c:pt idx="30">
                  <c:v>6.7334633444864733E-2</c:v>
                </c:pt>
                <c:pt idx="31">
                  <c:v>8.6573100143397516E-2</c:v>
                </c:pt>
                <c:pt idx="32">
                  <c:v>0.15511013775692056</c:v>
                </c:pt>
                <c:pt idx="33">
                  <c:v>0.1923846669853278</c:v>
                </c:pt>
                <c:pt idx="34">
                  <c:v>0.31502989218847433</c:v>
                </c:pt>
                <c:pt idx="35">
                  <c:v>0.37875731312736416</c:v>
                </c:pt>
                <c:pt idx="36">
                  <c:v>0.48577128413795273</c:v>
                </c:pt>
                <c:pt idx="37">
                  <c:v>0.46172320076478679</c:v>
                </c:pt>
                <c:pt idx="38">
                  <c:v>0.41963905486174624</c:v>
                </c:pt>
                <c:pt idx="39">
                  <c:v>0.4208414590304046</c:v>
                </c:pt>
                <c:pt idx="40">
                  <c:v>0.4088174173438216</c:v>
                </c:pt>
                <c:pt idx="41">
                  <c:v>0.27895776712872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G$2:$G$43</c:f>
              <c:numCache>
                <c:formatCode>General</c:formatCode>
                <c:ptCount val="42"/>
                <c:pt idx="0">
                  <c:v>3.7340044584013232</c:v>
                </c:pt>
                <c:pt idx="1">
                  <c:v>3.194009967494055</c:v>
                </c:pt>
                <c:pt idx="2">
                  <c:v>3.0618836558890847</c:v>
                </c:pt>
                <c:pt idx="3">
                  <c:v>2.4816768092759567</c:v>
                </c:pt>
                <c:pt idx="4">
                  <c:v>2.3323166309399035</c:v>
                </c:pt>
                <c:pt idx="5">
                  <c:v>2.2633811640155712</c:v>
                </c:pt>
                <c:pt idx="6">
                  <c:v>2.3495504976709864</c:v>
                </c:pt>
                <c:pt idx="7">
                  <c:v>1.5510480057974729</c:v>
                </c:pt>
                <c:pt idx="8">
                  <c:v>1.4189216941925029</c:v>
                </c:pt>
                <c:pt idx="9">
                  <c:v>1.0684997373271479</c:v>
                </c:pt>
                <c:pt idx="10">
                  <c:v>1.0053088926465101</c:v>
                </c:pt>
                <c:pt idx="11">
                  <c:v>0.84445946982306852</c:v>
                </c:pt>
                <c:pt idx="12">
                  <c:v>0.8904164477726233</c:v>
                </c:pt>
                <c:pt idx="13">
                  <c:v>0.77552400289873646</c:v>
                </c:pt>
                <c:pt idx="14">
                  <c:v>0.87318258104154034</c:v>
                </c:pt>
                <c:pt idx="15">
                  <c:v>0.79275786962981942</c:v>
                </c:pt>
                <c:pt idx="16">
                  <c:v>0.80424711411720817</c:v>
                </c:pt>
                <c:pt idx="17">
                  <c:v>0.77552400289873646</c:v>
                </c:pt>
                <c:pt idx="18">
                  <c:v>0.53424986866357393</c:v>
                </c:pt>
                <c:pt idx="19">
                  <c:v>0.49403751295771353</c:v>
                </c:pt>
                <c:pt idx="20">
                  <c:v>0.29297573442841152</c:v>
                </c:pt>
                <c:pt idx="21">
                  <c:v>0.33893271237796624</c:v>
                </c:pt>
                <c:pt idx="22">
                  <c:v>0.12638168936127556</c:v>
                </c:pt>
                <c:pt idx="23">
                  <c:v>6.8935466924332126E-2</c:v>
                </c:pt>
                <c:pt idx="24">
                  <c:v>5.1701600193249098E-2</c:v>
                </c:pt>
                <c:pt idx="25">
                  <c:v>4.0212355705860403E-2</c:v>
                </c:pt>
                <c:pt idx="26">
                  <c:v>6.3190844680637778E-2</c:v>
                </c:pt>
                <c:pt idx="27">
                  <c:v>8.6169333655415153E-2</c:v>
                </c:pt>
                <c:pt idx="28">
                  <c:v>0.16084942282344161</c:v>
                </c:pt>
                <c:pt idx="29">
                  <c:v>0.18957253404191335</c:v>
                </c:pt>
                <c:pt idx="30">
                  <c:v>0.2872311121847172</c:v>
                </c:pt>
                <c:pt idx="31">
                  <c:v>0.24701875647885677</c:v>
                </c:pt>
                <c:pt idx="32">
                  <c:v>0.21255102301669074</c:v>
                </c:pt>
                <c:pt idx="33">
                  <c:v>0.28148648994102282</c:v>
                </c:pt>
                <c:pt idx="34">
                  <c:v>0.22978488974777372</c:v>
                </c:pt>
                <c:pt idx="35">
                  <c:v>0.21829564526038508</c:v>
                </c:pt>
                <c:pt idx="36">
                  <c:v>0.24701875647885677</c:v>
                </c:pt>
                <c:pt idx="37">
                  <c:v>0.12063706711758121</c:v>
                </c:pt>
                <c:pt idx="38">
                  <c:v>0.17233866731083031</c:v>
                </c:pt>
                <c:pt idx="39">
                  <c:v>0.12638168936127556</c:v>
                </c:pt>
                <c:pt idx="40">
                  <c:v>0.26999724545363413</c:v>
                </c:pt>
                <c:pt idx="41">
                  <c:v>0.367655823596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J$2:$J$43</c:f>
              <c:numCache>
                <c:formatCode>General</c:formatCode>
                <c:ptCount val="42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308911833346514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382061522617363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663031679794199</c:v>
                </c:pt>
                <c:pt idx="40">
                  <c:v>0.65071685023116776</c:v>
                </c:pt>
                <c:pt idx="41">
                  <c:v>0.88782015598341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B$2:$B$43</c:f>
              <c:numCache>
                <c:formatCode>General</c:formatCode>
                <c:ptCount val="42"/>
                <c:pt idx="0">
                  <c:v>3.8759411234432202</c:v>
                </c:pt>
                <c:pt idx="1">
                  <c:v>3.9995218549153226</c:v>
                </c:pt>
                <c:pt idx="2">
                  <c:v>3.347914361698781</c:v>
                </c:pt>
                <c:pt idx="3">
                  <c:v>3.2243336302266785</c:v>
                </c:pt>
                <c:pt idx="4">
                  <c:v>2.4491454055380344</c:v>
                </c:pt>
                <c:pt idx="5">
                  <c:v>2.0559339872177076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334647633136891</c:v>
                </c:pt>
                <c:pt idx="11">
                  <c:v>1.9997609274576613</c:v>
                </c:pt>
                <c:pt idx="12">
                  <c:v>2.3929723457779879</c:v>
                </c:pt>
                <c:pt idx="13">
                  <c:v>2.3255646740659319</c:v>
                </c:pt>
                <c:pt idx="14">
                  <c:v>2.224453166497848</c:v>
                </c:pt>
                <c:pt idx="15">
                  <c:v>1.7750686884174747</c:v>
                </c:pt>
                <c:pt idx="16">
                  <c:v>1.7638340764654652</c:v>
                </c:pt>
                <c:pt idx="17">
                  <c:v>1.2470419266730359</c:v>
                </c:pt>
                <c:pt idx="18">
                  <c:v>0.92123818006476521</c:v>
                </c:pt>
                <c:pt idx="19">
                  <c:v>0.61790365736051334</c:v>
                </c:pt>
                <c:pt idx="20">
                  <c:v>0.50555753784042001</c:v>
                </c:pt>
                <c:pt idx="21">
                  <c:v>0.34827297051228934</c:v>
                </c:pt>
                <c:pt idx="22">
                  <c:v>0.24716146294420532</c:v>
                </c:pt>
                <c:pt idx="23">
                  <c:v>0.16851917928013999</c:v>
                </c:pt>
                <c:pt idx="24">
                  <c:v>0.12358073147210266</c:v>
                </c:pt>
                <c:pt idx="25">
                  <c:v>0.11234611952009332</c:v>
                </c:pt>
                <c:pt idx="26">
                  <c:v>2.2469223904018665E-2</c:v>
                </c:pt>
                <c:pt idx="27">
                  <c:v>4.4938447808037331E-2</c:v>
                </c:pt>
                <c:pt idx="28">
                  <c:v>4.4938447808037331E-2</c:v>
                </c:pt>
                <c:pt idx="29">
                  <c:v>4.4938447808037331E-2</c:v>
                </c:pt>
                <c:pt idx="30">
                  <c:v>7.8642283664065324E-2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29209991075224268</c:v>
                </c:pt>
                <c:pt idx="34">
                  <c:v>0.41568064222434531</c:v>
                </c:pt>
                <c:pt idx="35">
                  <c:v>0.43814986612836399</c:v>
                </c:pt>
                <c:pt idx="36">
                  <c:v>0.66284210516855069</c:v>
                </c:pt>
                <c:pt idx="37">
                  <c:v>0.70778055297658804</c:v>
                </c:pt>
                <c:pt idx="38">
                  <c:v>0.61790365736051334</c:v>
                </c:pt>
                <c:pt idx="39">
                  <c:v>0.66284210516855069</c:v>
                </c:pt>
                <c:pt idx="40">
                  <c:v>0.83136128444869062</c:v>
                </c:pt>
                <c:pt idx="41">
                  <c:v>0.62913826931252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L$2:$L$43</c:f>
              <c:numCache>
                <c:formatCode>General</c:formatCode>
                <c:ptCount val="42"/>
                <c:pt idx="0">
                  <c:v>11.121548632590022</c:v>
                </c:pt>
                <c:pt idx="1">
                  <c:v>11.176515100296397</c:v>
                </c:pt>
                <c:pt idx="2">
                  <c:v>11.3963809711219</c:v>
                </c:pt>
                <c:pt idx="3">
                  <c:v>11.616246841947403</c:v>
                </c:pt>
                <c:pt idx="4">
                  <c:v>11.946045648185658</c:v>
                </c:pt>
                <c:pt idx="5">
                  <c:v>12.459066013445165</c:v>
                </c:pt>
                <c:pt idx="6">
                  <c:v>12.440743857543039</c:v>
                </c:pt>
                <c:pt idx="7">
                  <c:v>12.110945051304784</c:v>
                </c:pt>
                <c:pt idx="8">
                  <c:v>12.055978583598408</c:v>
                </c:pt>
                <c:pt idx="9">
                  <c:v>11.597924686045278</c:v>
                </c:pt>
                <c:pt idx="10">
                  <c:v>9.380943821888124</c:v>
                </c:pt>
                <c:pt idx="11">
                  <c:v>8.7030240535094894</c:v>
                </c:pt>
                <c:pt idx="12">
                  <c:v>7.4021509844585971</c:v>
                </c:pt>
                <c:pt idx="13">
                  <c:v>5.4600024588333218</c:v>
                </c:pt>
                <c:pt idx="14">
                  <c:v>5.0935593407908168</c:v>
                </c:pt>
                <c:pt idx="15">
                  <c:v>4.0675186102718035</c:v>
                </c:pt>
                <c:pt idx="16">
                  <c:v>3.2063772828719173</c:v>
                </c:pt>
                <c:pt idx="17">
                  <c:v>1.7772491225061484</c:v>
                </c:pt>
                <c:pt idx="18">
                  <c:v>1.8322155902125243</c:v>
                </c:pt>
                <c:pt idx="19">
                  <c:v>0.9527521069105126</c:v>
                </c:pt>
                <c:pt idx="20">
                  <c:v>0.87946348330201152</c:v>
                </c:pt>
                <c:pt idx="21">
                  <c:v>0.60463114477013291</c:v>
                </c:pt>
                <c:pt idx="22">
                  <c:v>0.32979880623825436</c:v>
                </c:pt>
                <c:pt idx="23">
                  <c:v>0.21986587082550288</c:v>
                </c:pt>
                <c:pt idx="24">
                  <c:v>0.21986587082550288</c:v>
                </c:pt>
                <c:pt idx="25">
                  <c:v>0.16489940311912718</c:v>
                </c:pt>
                <c:pt idx="26">
                  <c:v>0</c:v>
                </c:pt>
                <c:pt idx="27">
                  <c:v>1.8322155902125242E-2</c:v>
                </c:pt>
                <c:pt idx="28">
                  <c:v>1.8322155902125242E-2</c:v>
                </c:pt>
                <c:pt idx="29">
                  <c:v>7.3288623608500969E-2</c:v>
                </c:pt>
                <c:pt idx="30">
                  <c:v>1.8322155902125242E-2</c:v>
                </c:pt>
                <c:pt idx="31">
                  <c:v>1.8322155902125242E-2</c:v>
                </c:pt>
                <c:pt idx="32">
                  <c:v>1.8322155902125242E-2</c:v>
                </c:pt>
                <c:pt idx="33">
                  <c:v>5.496646770637572E-2</c:v>
                </c:pt>
                <c:pt idx="34">
                  <c:v>5.496646770637572E-2</c:v>
                </c:pt>
                <c:pt idx="35">
                  <c:v>0.42140958574888054</c:v>
                </c:pt>
                <c:pt idx="36">
                  <c:v>0.56798683296588248</c:v>
                </c:pt>
                <c:pt idx="37">
                  <c:v>1.0260407305190136</c:v>
                </c:pt>
                <c:pt idx="38">
                  <c:v>1.3558395367572678</c:v>
                </c:pt>
                <c:pt idx="39">
                  <c:v>1.3008730690508921</c:v>
                </c:pt>
                <c:pt idx="40">
                  <c:v>1.5024167839742697</c:v>
                </c:pt>
                <c:pt idx="41">
                  <c:v>0.62295330067225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3</c:f>
              <c:numCache>
                <c:formatCode>General</c:formatCode>
                <c:ptCount val="42"/>
                <c:pt idx="0">
                  <c:v>6.788131329488797</c:v>
                </c:pt>
                <c:pt idx="1">
                  <c:v>9.2726761298245641</c:v>
                </c:pt>
                <c:pt idx="2">
                  <c:v>8.294492250100534</c:v>
                </c:pt>
                <c:pt idx="3">
                  <c:v>5.4888158089050396</c:v>
                </c:pt>
                <c:pt idx="4">
                  <c:v>3.3021628596299371</c:v>
                </c:pt>
                <c:pt idx="5">
                  <c:v>1.9014373471957411</c:v>
                </c:pt>
                <c:pt idx="6">
                  <c:v>1.3943873879435436</c:v>
                </c:pt>
                <c:pt idx="7">
                  <c:v>1.0795938715744708</c:v>
                </c:pt>
                <c:pt idx="8">
                  <c:v>0.9739584633969296</c:v>
                </c:pt>
                <c:pt idx="9">
                  <c:v>0.89367555318199843</c:v>
                </c:pt>
                <c:pt idx="10">
                  <c:v>0.93592971645301481</c:v>
                </c:pt>
                <c:pt idx="11">
                  <c:v>1.1155099103548347</c:v>
                </c:pt>
                <c:pt idx="12">
                  <c:v>1.1788911552613595</c:v>
                </c:pt>
                <c:pt idx="13">
                  <c:v>1.1133972021912839</c:v>
                </c:pt>
                <c:pt idx="14">
                  <c:v>0.95705679808852318</c:v>
                </c:pt>
                <c:pt idx="15">
                  <c:v>0.77747660418670306</c:v>
                </c:pt>
                <c:pt idx="16">
                  <c:v>0.54930412252321414</c:v>
                </c:pt>
                <c:pt idx="17">
                  <c:v>0.43733058985502049</c:v>
                </c:pt>
                <c:pt idx="18">
                  <c:v>0.25986310411675129</c:v>
                </c:pt>
                <c:pt idx="19">
                  <c:v>0.21972164900928567</c:v>
                </c:pt>
                <c:pt idx="20">
                  <c:v>0.18380561022892164</c:v>
                </c:pt>
                <c:pt idx="21">
                  <c:v>0.14788957144855766</c:v>
                </c:pt>
                <c:pt idx="22">
                  <c:v>9.0846451032685405E-2</c:v>
                </c:pt>
                <c:pt idx="23">
                  <c:v>0.14155144695790517</c:v>
                </c:pt>
                <c:pt idx="24">
                  <c:v>0.13521332246725271</c:v>
                </c:pt>
                <c:pt idx="25">
                  <c:v>0.2852156020793612</c:v>
                </c:pt>
                <c:pt idx="26">
                  <c:v>0.56831849599517159</c:v>
                </c:pt>
                <c:pt idx="27">
                  <c:v>1.0500159572847592</c:v>
                </c:pt>
                <c:pt idx="28">
                  <c:v>1.5549532083734061</c:v>
                </c:pt>
                <c:pt idx="29">
                  <c:v>1.6288979940976849</c:v>
                </c:pt>
                <c:pt idx="30">
                  <c:v>1.3753730144715861</c:v>
                </c:pt>
                <c:pt idx="31">
                  <c:v>1.2063563613875201</c:v>
                </c:pt>
                <c:pt idx="32">
                  <c:v>1.0119872103408445</c:v>
                </c:pt>
                <c:pt idx="33">
                  <c:v>0.66761577968206021</c:v>
                </c:pt>
                <c:pt idx="34">
                  <c:v>0.53662787354190922</c:v>
                </c:pt>
                <c:pt idx="35">
                  <c:v>0.38662559392980073</c:v>
                </c:pt>
                <c:pt idx="36">
                  <c:v>0.24296143880834473</c:v>
                </c:pt>
                <c:pt idx="37">
                  <c:v>0.15845311226631176</c:v>
                </c:pt>
                <c:pt idx="38">
                  <c:v>0.13098790614015107</c:v>
                </c:pt>
                <c:pt idx="39">
                  <c:v>7.394478572427883E-2</c:v>
                </c:pt>
                <c:pt idx="40">
                  <c:v>3.1690622453262353E-2</c:v>
                </c:pt>
                <c:pt idx="41">
                  <c:v>6.33812449065247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H$2:$H$43</c:f>
              <c:numCache>
                <c:formatCode>General</c:formatCode>
                <c:ptCount val="42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2</c:f>
              <c:strCache>
                <c:ptCount val="31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Itálie</c:v>
                </c:pt>
                <c:pt idx="4">
                  <c:v>Polsko</c:v>
                </c:pt>
                <c:pt idx="5">
                  <c:v>Řecko</c:v>
                </c:pt>
                <c:pt idx="6">
                  <c:v>Německo</c:v>
                </c:pt>
                <c:pt idx="7">
                  <c:v>Chorvatsko</c:v>
                </c:pt>
                <c:pt idx="8">
                  <c:v>Belgie</c:v>
                </c:pt>
                <c:pt idx="9">
                  <c:v>Česká republika</c:v>
                </c:pt>
                <c:pt idx="10">
                  <c:v>Španělsko</c:v>
                </c:pt>
                <c:pt idx="11">
                  <c:v>Lichtenštejnsko</c:v>
                </c:pt>
                <c:pt idx="12">
                  <c:v>Francie</c:v>
                </c:pt>
                <c:pt idx="13">
                  <c:v>Slovensko</c:v>
                </c:pt>
                <c:pt idx="14">
                  <c:v>Portugalsko</c:v>
                </c:pt>
                <c:pt idx="15">
                  <c:v>Lotyšsko</c:v>
                </c:pt>
                <c:pt idx="16">
                  <c:v>Velká Británie</c:v>
                </c:pt>
                <c:pt idx="17">
                  <c:v>Slovinsko</c:v>
                </c:pt>
                <c:pt idx="18">
                  <c:v>Litva</c:v>
                </c:pt>
                <c:pt idx="19">
                  <c:v>Rakousko</c:v>
                </c:pt>
                <c:pt idx="20">
                  <c:v>Malta</c:v>
                </c:pt>
                <c:pt idx="21">
                  <c:v>Švédsko</c:v>
                </c:pt>
                <c:pt idx="22">
                  <c:v>Irsko</c:v>
                </c:pt>
                <c:pt idx="23">
                  <c:v>Lucembursko</c:v>
                </c:pt>
                <c:pt idx="24">
                  <c:v>Finsko</c:v>
                </c:pt>
                <c:pt idx="25">
                  <c:v>Nizozemsko</c:v>
                </c:pt>
                <c:pt idx="26">
                  <c:v>Estonsko</c:v>
                </c:pt>
                <c:pt idx="27">
                  <c:v>Dánsko</c:v>
                </c:pt>
                <c:pt idx="28">
                  <c:v>Kypr</c:v>
                </c:pt>
                <c:pt idx="29">
                  <c:v>Norsko</c:v>
                </c:pt>
                <c:pt idx="30">
                  <c:v>Island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4.0545845340299577E-2</c:v>
                </c:pt>
                <c:pt idx="1">
                  <c:v>3.4541743769648033E-2</c:v>
                </c:pt>
                <c:pt idx="2">
                  <c:v>2.8124454404002925E-2</c:v>
                </c:pt>
                <c:pt idx="3">
                  <c:v>2.789610831079951E-2</c:v>
                </c:pt>
                <c:pt idx="4">
                  <c:v>2.6050930758716524E-2</c:v>
                </c:pt>
                <c:pt idx="5">
                  <c:v>2.1813958928601267E-2</c:v>
                </c:pt>
                <c:pt idx="6">
                  <c:v>2.1202307300026976E-2</c:v>
                </c:pt>
                <c:pt idx="7">
                  <c:v>2.0313673613524513E-2</c:v>
                </c:pt>
                <c:pt idx="8">
                  <c:v>1.9536824707561323E-2</c:v>
                </c:pt>
                <c:pt idx="9">
                  <c:v>1.765510819782732E-2</c:v>
                </c:pt>
                <c:pt idx="10">
                  <c:v>1.7423027706787522E-2</c:v>
                </c:pt>
                <c:pt idx="11">
                  <c:v>1.7207334273624825E-2</c:v>
                </c:pt>
                <c:pt idx="12">
                  <c:v>1.7068304418844493E-2</c:v>
                </c:pt>
                <c:pt idx="13">
                  <c:v>1.6959705505888888E-2</c:v>
                </c:pt>
                <c:pt idx="14">
                  <c:v>1.6707387180224201E-2</c:v>
                </c:pt>
                <c:pt idx="15">
                  <c:v>1.6586776981897706E-2</c:v>
                </c:pt>
                <c:pt idx="16">
                  <c:v>1.5903599791831792E-2</c:v>
                </c:pt>
                <c:pt idx="17">
                  <c:v>1.5666521115339029E-2</c:v>
                </c:pt>
                <c:pt idx="18">
                  <c:v>1.477114658541432E-2</c:v>
                </c:pt>
                <c:pt idx="19">
                  <c:v>1.3778131030992947E-2</c:v>
                </c:pt>
                <c:pt idx="20">
                  <c:v>1.3221344920777913E-2</c:v>
                </c:pt>
                <c:pt idx="21">
                  <c:v>1.2848363780274905E-2</c:v>
                </c:pt>
                <c:pt idx="22">
                  <c:v>1.1885871541781235E-2</c:v>
                </c:pt>
                <c:pt idx="23" formatCode="0.0000000">
                  <c:v>1.0967915484691382E-2</c:v>
                </c:pt>
                <c:pt idx="24">
                  <c:v>1.0254529738791065E-2</c:v>
                </c:pt>
                <c:pt idx="25">
                  <c:v>8.8048061487664576E-3</c:v>
                </c:pt>
                <c:pt idx="26">
                  <c:v>7.8818325124227501E-3</c:v>
                </c:pt>
                <c:pt idx="27">
                  <c:v>7.2606852322128004E-3</c:v>
                </c:pt>
                <c:pt idx="28">
                  <c:v>5.6554346850339081E-3</c:v>
                </c:pt>
                <c:pt idx="29">
                  <c:v>5.6384990544441124E-3</c:v>
                </c:pt>
                <c:pt idx="30">
                  <c:v>2.513328255902513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Island</c:v>
                </c:pt>
                <c:pt idx="4">
                  <c:v>Norsko</c:v>
                </c:pt>
                <c:pt idx="5">
                  <c:v>Španělsko</c:v>
                </c:pt>
                <c:pt idx="6">
                  <c:v>Francie</c:v>
                </c:pt>
                <c:pt idx="7">
                  <c:v>Dánsko</c:v>
                </c:pt>
                <c:pt idx="8">
                  <c:v>Finsko</c:v>
                </c:pt>
                <c:pt idx="9">
                  <c:v>Itálie</c:v>
                </c:pt>
                <c:pt idx="10">
                  <c:v>Belgie</c:v>
                </c:pt>
                <c:pt idx="11">
                  <c:v>Nizozemsko</c:v>
                </c:pt>
                <c:pt idx="12">
                  <c:v>Švédsko</c:v>
                </c:pt>
                <c:pt idx="13">
                  <c:v>Němec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Lichtenštejnsko</c:v>
                </c:pt>
                <c:pt idx="19">
                  <c:v>Řecko</c:v>
                </c:pt>
                <c:pt idx="20">
                  <c:v>Maďarsko</c:v>
                </c:pt>
                <c:pt idx="21">
                  <c:v>Estonsko</c:v>
                </c:pt>
                <c:pt idx="22">
                  <c:v>Česká republika</c:v>
                </c:pt>
                <c:pt idx="23">
                  <c:v>Slovinsko</c:v>
                </c:pt>
                <c:pt idx="24">
                  <c:v>Lotyš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8599999999999999</c:v>
                </c:pt>
                <c:pt idx="1">
                  <c:v>0.93300000000000005</c:v>
                </c:pt>
                <c:pt idx="2">
                  <c:v>0.92700000000000005</c:v>
                </c:pt>
                <c:pt idx="3">
                  <c:v>0.92100000000000004</c:v>
                </c:pt>
                <c:pt idx="4">
                  <c:v>0.91800000000000004</c:v>
                </c:pt>
                <c:pt idx="5">
                  <c:v>0.91</c:v>
                </c:pt>
                <c:pt idx="6">
                  <c:v>0.89500000000000002</c:v>
                </c:pt>
                <c:pt idx="7">
                  <c:v>0.89300000000000002</c:v>
                </c:pt>
                <c:pt idx="8">
                  <c:v>0.876</c:v>
                </c:pt>
                <c:pt idx="9">
                  <c:v>0.875</c:v>
                </c:pt>
                <c:pt idx="10">
                  <c:v>0.873</c:v>
                </c:pt>
                <c:pt idx="11">
                  <c:v>0.872</c:v>
                </c:pt>
                <c:pt idx="12">
                  <c:v>0.85599999999999998</c:v>
                </c:pt>
                <c:pt idx="13">
                  <c:v>0.82699999999999996</c:v>
                </c:pt>
                <c:pt idx="14">
                  <c:v>0.81399999999999995</c:v>
                </c:pt>
                <c:pt idx="15">
                  <c:v>0.77400000000000002</c:v>
                </c:pt>
                <c:pt idx="16">
                  <c:v>0.76400000000000001</c:v>
                </c:pt>
                <c:pt idx="17">
                  <c:v>0.754</c:v>
                </c:pt>
                <c:pt idx="18">
                  <c:v>0.748</c:v>
                </c:pt>
                <c:pt idx="19">
                  <c:v>0.71699999999999997</c:v>
                </c:pt>
                <c:pt idx="20">
                  <c:v>0.69299999999999995</c:v>
                </c:pt>
                <c:pt idx="21">
                  <c:v>0.68799999999999994</c:v>
                </c:pt>
                <c:pt idx="22">
                  <c:v>0.67900000000000005</c:v>
                </c:pt>
                <c:pt idx="23">
                  <c:v>0.66300000000000003</c:v>
                </c:pt>
                <c:pt idx="24">
                  <c:v>0.65500000000000003</c:v>
                </c:pt>
                <c:pt idx="25">
                  <c:v>0.64200000000000002</c:v>
                </c:pt>
                <c:pt idx="26">
                  <c:v>0.55700000000000005</c:v>
                </c:pt>
                <c:pt idx="27">
                  <c:v>0.54100000000000004</c:v>
                </c:pt>
                <c:pt idx="28">
                  <c:v>0.40300000000000002</c:v>
                </c:pt>
                <c:pt idx="2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Malta</c:v>
                </c:pt>
                <c:pt idx="2">
                  <c:v>Portugalsko</c:v>
                </c:pt>
                <c:pt idx="3">
                  <c:v>Island</c:v>
                </c:pt>
                <c:pt idx="4">
                  <c:v>Dánsko</c:v>
                </c:pt>
                <c:pt idx="5">
                  <c:v>Norsko</c:v>
                </c:pt>
                <c:pt idx="6">
                  <c:v>Belgie</c:v>
                </c:pt>
                <c:pt idx="7">
                  <c:v>Španělsko</c:v>
                </c:pt>
                <c:pt idx="8">
                  <c:v>Švédsko</c:v>
                </c:pt>
                <c:pt idx="9">
                  <c:v>Finsko</c:v>
                </c:pt>
                <c:pt idx="10">
                  <c:v>Francie</c:v>
                </c:pt>
                <c:pt idx="11">
                  <c:v>Itálie</c:v>
                </c:pt>
                <c:pt idx="12">
                  <c:v>Nizozemsko</c:v>
                </c:pt>
                <c:pt idx="13">
                  <c:v>Německo</c:v>
                </c:pt>
                <c:pt idx="14">
                  <c:v>Kypr</c:v>
                </c:pt>
                <c:pt idx="15">
                  <c:v>Lucembursko</c:v>
                </c:pt>
                <c:pt idx="16">
                  <c:v>Rakousko</c:v>
                </c:pt>
                <c:pt idx="17">
                  <c:v>Litva</c:v>
                </c:pt>
                <c:pt idx="18">
                  <c:v>Řecko</c:v>
                </c:pt>
                <c:pt idx="19">
                  <c:v>Lichtenštejnsko</c:v>
                </c:pt>
                <c:pt idx="20">
                  <c:v>Maďar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Slovinsko</c:v>
                </c:pt>
                <c:pt idx="24">
                  <c:v>Polsko</c:v>
                </c:pt>
                <c:pt idx="25">
                  <c:v>Lotyšsko</c:v>
                </c:pt>
                <c:pt idx="26">
                  <c:v>Slovensko</c:v>
                </c:pt>
                <c:pt idx="27">
                  <c:v>Chorvat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2100000000000004</c:v>
                </c:pt>
                <c:pt idx="1">
                  <c:v>0.91400000000000003</c:v>
                </c:pt>
                <c:pt idx="2">
                  <c:v>0.91300000000000003</c:v>
                </c:pt>
                <c:pt idx="3">
                  <c:v>0.91100000000000003</c:v>
                </c:pt>
                <c:pt idx="4">
                  <c:v>0.88100000000000001</c:v>
                </c:pt>
                <c:pt idx="5">
                  <c:v>0.872</c:v>
                </c:pt>
                <c:pt idx="6">
                  <c:v>0.86099999999999999</c:v>
                </c:pt>
                <c:pt idx="7">
                  <c:v>0.83899999999999997</c:v>
                </c:pt>
                <c:pt idx="8">
                  <c:v>0.81699999999999995</c:v>
                </c:pt>
                <c:pt idx="9">
                  <c:v>0.80800000000000005</c:v>
                </c:pt>
                <c:pt idx="10">
                  <c:v>0.80500000000000005</c:v>
                </c:pt>
                <c:pt idx="11">
                  <c:v>0.80100000000000005</c:v>
                </c:pt>
                <c:pt idx="12">
                  <c:v>0.79500000000000004</c:v>
                </c:pt>
                <c:pt idx="13">
                  <c:v>0.79300000000000004</c:v>
                </c:pt>
                <c:pt idx="14">
                  <c:v>0.79200000000000004</c:v>
                </c:pt>
                <c:pt idx="15">
                  <c:v>0.752</c:v>
                </c:pt>
                <c:pt idx="16">
                  <c:v>0.72799999999999998</c:v>
                </c:pt>
                <c:pt idx="17">
                  <c:v>0.71599999999999997</c:v>
                </c:pt>
                <c:pt idx="18">
                  <c:v>0.69499999999999995</c:v>
                </c:pt>
                <c:pt idx="19">
                  <c:v>0.69399999999999995</c:v>
                </c:pt>
                <c:pt idx="20">
                  <c:v>0.67</c:v>
                </c:pt>
                <c:pt idx="21">
                  <c:v>0.66800000000000004</c:v>
                </c:pt>
                <c:pt idx="22">
                  <c:v>0.65200000000000002</c:v>
                </c:pt>
                <c:pt idx="23">
                  <c:v>0.628</c:v>
                </c:pt>
                <c:pt idx="24">
                  <c:v>0.61199999999999999</c:v>
                </c:pt>
                <c:pt idx="25">
                  <c:v>0.58499999999999996</c:v>
                </c:pt>
                <c:pt idx="26">
                  <c:v>0.52800000000000002</c:v>
                </c:pt>
                <c:pt idx="27">
                  <c:v>0.52600000000000002</c:v>
                </c:pt>
                <c:pt idx="28">
                  <c:v>0.372</c:v>
                </c:pt>
                <c:pt idx="29">
                  <c:v>0.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649603554792684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73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60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395341767170876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76400000000000001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72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27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2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5925368349447968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55700000000000005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526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1399999999999995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792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39744103968702E-2"/>
                  <c:y val="-2.333186360964181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67900000000000005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66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893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88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148348634992709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68799999999999994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652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7008869485578133E-2"/>
                  <c:y val="3.733098177542617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876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08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9500000000000002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05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246E-2"/>
                  <c:y val="5.331422692533761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79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854186199078862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71699999999999997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69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644398127203706E-2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69299999999999995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1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584699489494617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3300000000000005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2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957092122124164E-2"/>
                  <c:y val="5.06652336860669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75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3469E-3"/>
                  <c:y val="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65500000000000003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584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04363363840304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48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693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885149482068503E-3"/>
                  <c:y val="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754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1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77400000000000002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2700000000000005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14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06863179341517E-2"/>
                  <c:y val="6.06628453850676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72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79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18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480268245931395E-2"/>
                  <c:y val="-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4200000000000002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1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985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13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0300000000000002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3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4100000000000004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2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9.3327454438565122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6300000000000003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029304044723789E-2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1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38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565097772453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5599999999999998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1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I$2:$I$43</c:f>
              <c:numCache>
                <c:formatCode>General</c:formatCode>
                <c:ptCount val="42"/>
                <c:pt idx="0">
                  <c:v>207.38662991519158</c:v>
                </c:pt>
                <c:pt idx="1">
                  <c:v>252.5767111827009</c:v>
                </c:pt>
                <c:pt idx="2">
                  <c:v>256.95078472962325</c:v>
                </c:pt>
                <c:pt idx="3">
                  <c:v>281.38137408396136</c:v>
                </c:pt>
                <c:pt idx="4">
                  <c:v>280.97347436827613</c:v>
                </c:pt>
                <c:pt idx="5">
                  <c:v>245.68580960282719</c:v>
                </c:pt>
                <c:pt idx="6">
                  <c:v>248.15056533164849</c:v>
                </c:pt>
                <c:pt idx="7">
                  <c:v>283.06504525083233</c:v>
                </c:pt>
                <c:pt idx="8">
                  <c:v>292.09091130003713</c:v>
                </c:pt>
                <c:pt idx="9">
                  <c:v>332.00433241570363</c:v>
                </c:pt>
                <c:pt idx="10">
                  <c:v>444.08128833823395</c:v>
                </c:pt>
                <c:pt idx="11">
                  <c:v>554.60475385421842</c:v>
                </c:pt>
                <c:pt idx="12">
                  <c:v>559.8033055498662</c:v>
                </c:pt>
                <c:pt idx="13">
                  <c:v>474.30926088571522</c:v>
                </c:pt>
                <c:pt idx="14">
                  <c:v>426.0729498265992</c:v>
                </c:pt>
                <c:pt idx="15">
                  <c:v>428.25130788270542</c:v>
                </c:pt>
                <c:pt idx="16">
                  <c:v>396.71284901461843</c:v>
                </c:pt>
                <c:pt idx="17">
                  <c:v>366.71920183572229</c:v>
                </c:pt>
                <c:pt idx="18">
                  <c:v>313.70959623135377</c:v>
                </c:pt>
                <c:pt idx="19">
                  <c:v>279.5588434394104</c:v>
                </c:pt>
                <c:pt idx="20">
                  <c:v>256.2738447759329</c:v>
                </c:pt>
                <c:pt idx="21">
                  <c:v>185.29061552934968</c:v>
                </c:pt>
                <c:pt idx="22">
                  <c:v>124.98220862942225</c:v>
                </c:pt>
                <c:pt idx="23">
                  <c:v>72.111462502733801</c:v>
                </c:pt>
                <c:pt idx="24">
                  <c:v>47.585407257490601</c:v>
                </c:pt>
                <c:pt idx="25">
                  <c:v>56.784847653795552</c:v>
                </c:pt>
                <c:pt idx="26">
                  <c:v>100.65576388334416</c:v>
                </c:pt>
                <c:pt idx="27">
                  <c:v>147.9894883375396</c:v>
                </c:pt>
                <c:pt idx="28">
                  <c:v>172.94080073317804</c:v>
                </c:pt>
                <c:pt idx="29">
                  <c:v>188.01573277882113</c:v>
                </c:pt>
                <c:pt idx="30">
                  <c:v>204.01928758144973</c:v>
                </c:pt>
                <c:pt idx="31">
                  <c:v>221.86273046333935</c:v>
                </c:pt>
                <c:pt idx="32">
                  <c:v>235.62717618837675</c:v>
                </c:pt>
                <c:pt idx="33">
                  <c:v>242.32714598644037</c:v>
                </c:pt>
                <c:pt idx="34">
                  <c:v>241.75435064101009</c:v>
                </c:pt>
                <c:pt idx="35">
                  <c:v>238.55190393701335</c:v>
                </c:pt>
                <c:pt idx="36">
                  <c:v>244.64436352022662</c:v>
                </c:pt>
                <c:pt idx="37">
                  <c:v>243.59423872027105</c:v>
                </c:pt>
                <c:pt idx="38">
                  <c:v>233.51824787111062</c:v>
                </c:pt>
                <c:pt idx="39">
                  <c:v>244.0368533053763</c:v>
                </c:pt>
                <c:pt idx="40">
                  <c:v>326.16355563578549</c:v>
                </c:pt>
                <c:pt idx="41">
                  <c:v>391.78333755697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C$2:$C$43</c:f>
              <c:numCache>
                <c:formatCode>General</c:formatCode>
                <c:ptCount val="42"/>
                <c:pt idx="0">
                  <c:v>1508.9762528101198</c:v>
                </c:pt>
                <c:pt idx="1">
                  <c:v>1358.9660460939604</c:v>
                </c:pt>
                <c:pt idx="2">
                  <c:v>978.14285269440938</c:v>
                </c:pt>
                <c:pt idx="3">
                  <c:v>893.58093402253371</c:v>
                </c:pt>
                <c:pt idx="4">
                  <c:v>911.37606077610883</c:v>
                </c:pt>
                <c:pt idx="5">
                  <c:v>968.57668628930833</c:v>
                </c:pt>
                <c:pt idx="6">
                  <c:v>1120.4571112664846</c:v>
                </c:pt>
                <c:pt idx="7">
                  <c:v>1395.734537105551</c:v>
                </c:pt>
                <c:pt idx="8">
                  <c:v>1573.6764535499967</c:v>
                </c:pt>
                <c:pt idx="9">
                  <c:v>1519.7487099935768</c:v>
                </c:pt>
                <c:pt idx="10">
                  <c:v>1329.2389268350978</c:v>
                </c:pt>
                <c:pt idx="11">
                  <c:v>1069.9705693103353</c:v>
                </c:pt>
                <c:pt idx="12">
                  <c:v>808.61691842453945</c:v>
                </c:pt>
                <c:pt idx="13">
                  <c:v>602.21028004741754</c:v>
                </c:pt>
                <c:pt idx="14">
                  <c:v>457.1935560881729</c:v>
                </c:pt>
                <c:pt idx="15">
                  <c:v>364.64580544175539</c:v>
                </c:pt>
                <c:pt idx="16">
                  <c:v>298.03798207564114</c:v>
                </c:pt>
                <c:pt idx="17">
                  <c:v>235.91868253596735</c:v>
                </c:pt>
                <c:pt idx="18">
                  <c:v>172.66790094837833</c:v>
                </c:pt>
                <c:pt idx="19">
                  <c:v>118.02947445277181</c:v>
                </c:pt>
                <c:pt idx="20">
                  <c:v>76.538682332113552</c:v>
                </c:pt>
                <c:pt idx="21">
                  <c:v>51.786343647555874</c:v>
                </c:pt>
                <c:pt idx="22">
                  <c:v>35.160103307116302</c:v>
                </c:pt>
                <c:pt idx="23">
                  <c:v>21.95636238433752</c:v>
                </c:pt>
                <c:pt idx="24">
                  <c:v>15.17682118815153</c:v>
                </c:pt>
                <c:pt idx="25">
                  <c:v>15.878153036032842</c:v>
                </c:pt>
                <c:pt idx="26">
                  <c:v>22.124682027829035</c:v>
                </c:pt>
                <c:pt idx="27">
                  <c:v>27.725985719574425</c:v>
                </c:pt>
                <c:pt idx="28">
                  <c:v>27.55766607608291</c:v>
                </c:pt>
                <c:pt idx="29">
                  <c:v>23.536696814896736</c:v>
                </c:pt>
                <c:pt idx="30">
                  <c:v>22.180788575659541</c:v>
                </c:pt>
                <c:pt idx="31">
                  <c:v>23.069142249642532</c:v>
                </c:pt>
                <c:pt idx="32">
                  <c:v>24.032304654066195</c:v>
                </c:pt>
                <c:pt idx="33">
                  <c:v>24.396997214964475</c:v>
                </c:pt>
                <c:pt idx="34">
                  <c:v>28.614339393557415</c:v>
                </c:pt>
                <c:pt idx="35">
                  <c:v>40.686598268421015</c:v>
                </c:pt>
                <c:pt idx="36">
                  <c:v>52.814963691115118</c:v>
                </c:pt>
                <c:pt idx="37">
                  <c:v>58.799662126368958</c:v>
                </c:pt>
                <c:pt idx="38">
                  <c:v>72.255882514385021</c:v>
                </c:pt>
                <c:pt idx="39">
                  <c:v>97.634744316383319</c:v>
                </c:pt>
                <c:pt idx="40">
                  <c:v>145.64324707668521</c:v>
                </c:pt>
                <c:pt idx="41">
                  <c:v>291.10882341857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D$2:$D$43</c:f>
              <c:numCache>
                <c:formatCode>General</c:formatCode>
                <c:ptCount val="42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2.994354028810605</c:v>
                </c:pt>
                <c:pt idx="40">
                  <c:v>91.820858091126738</c:v>
                </c:pt>
                <c:pt idx="41">
                  <c:v>101.45540828330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F$2:$F$43</c:f>
              <c:numCache>
                <c:formatCode>General</c:formatCode>
                <c:ptCount val="42"/>
                <c:pt idx="0">
                  <c:v>399.49036818129014</c:v>
                </c:pt>
                <c:pt idx="1">
                  <c:v>362.24448323623312</c:v>
                </c:pt>
                <c:pt idx="2">
                  <c:v>300.08137959267549</c:v>
                </c:pt>
                <c:pt idx="3">
                  <c:v>280.97387509848852</c:v>
                </c:pt>
                <c:pt idx="4">
                  <c:v>278.20231446941767</c:v>
                </c:pt>
                <c:pt idx="5">
                  <c:v>279.34413708792778</c:v>
                </c:pt>
                <c:pt idx="6">
                  <c:v>290.193966991568</c:v>
                </c:pt>
                <c:pt idx="7">
                  <c:v>354.23831142509391</c:v>
                </c:pt>
                <c:pt idx="8">
                  <c:v>442.78237994330391</c:v>
                </c:pt>
                <c:pt idx="9">
                  <c:v>500.61795909585618</c:v>
                </c:pt>
                <c:pt idx="10">
                  <c:v>511.87187013174457</c:v>
                </c:pt>
                <c:pt idx="11">
                  <c:v>492.50783280256189</c:v>
                </c:pt>
                <c:pt idx="12">
                  <c:v>462.54546834914652</c:v>
                </c:pt>
                <c:pt idx="13">
                  <c:v>389.29276881891343</c:v>
                </c:pt>
                <c:pt idx="14">
                  <c:v>332.91925915731679</c:v>
                </c:pt>
                <c:pt idx="15">
                  <c:v>317.04608040631047</c:v>
                </c:pt>
                <c:pt idx="16">
                  <c:v>283.74375904236325</c:v>
                </c:pt>
                <c:pt idx="17">
                  <c:v>237.53431503922238</c:v>
                </c:pt>
                <c:pt idx="18">
                  <c:v>181.20439919272303</c:v>
                </c:pt>
                <c:pt idx="19">
                  <c:v>125.35736868268613</c:v>
                </c:pt>
                <c:pt idx="20">
                  <c:v>88.552451944190267</c:v>
                </c:pt>
                <c:pt idx="21">
                  <c:v>64.891070457531171</c:v>
                </c:pt>
                <c:pt idx="22">
                  <c:v>46.717479617544086</c:v>
                </c:pt>
                <c:pt idx="23">
                  <c:v>31.805041483874447</c:v>
                </c:pt>
                <c:pt idx="24">
                  <c:v>21.240248063562735</c:v>
                </c:pt>
                <c:pt idx="25">
                  <c:v>18.257425099789597</c:v>
                </c:pt>
                <c:pt idx="26">
                  <c:v>24.187860638218819</c:v>
                </c:pt>
                <c:pt idx="27">
                  <c:v>46.338548763236759</c:v>
                </c:pt>
                <c:pt idx="28">
                  <c:v>83.991868210933973</c:v>
                </c:pt>
                <c:pt idx="29">
                  <c:v>116.70902644145967</c:v>
                </c:pt>
                <c:pt idx="30">
                  <c:v>135.48287058163271</c:v>
                </c:pt>
                <c:pt idx="31">
                  <c:v>143.4538320036549</c:v>
                </c:pt>
                <c:pt idx="32">
                  <c:v>148.13346038583074</c:v>
                </c:pt>
                <c:pt idx="33">
                  <c:v>152.98411065800369</c:v>
                </c:pt>
                <c:pt idx="34">
                  <c:v>144.0691754706053</c:v>
                </c:pt>
                <c:pt idx="35">
                  <c:v>122.21023056970007</c:v>
                </c:pt>
                <c:pt idx="36">
                  <c:v>103.61411506030836</c:v>
                </c:pt>
                <c:pt idx="37">
                  <c:v>87.93878516243592</c:v>
                </c:pt>
                <c:pt idx="38">
                  <c:v>74.515243482858779</c:v>
                </c:pt>
                <c:pt idx="39">
                  <c:v>64.869273549982523</c:v>
                </c:pt>
                <c:pt idx="40">
                  <c:v>59.674902812619294</c:v>
                </c:pt>
                <c:pt idx="41">
                  <c:v>59.27082168037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K$2:$K$43</c:f>
              <c:numCache>
                <c:formatCode>General</c:formatCode>
                <c:ptCount val="42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2734492952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E$2:$E$43</c:f>
              <c:numCache>
                <c:formatCode>General</c:formatCode>
                <c:ptCount val="42"/>
                <c:pt idx="0">
                  <c:v>312.25233855887359</c:v>
                </c:pt>
                <c:pt idx="1">
                  <c:v>317.83029149727946</c:v>
                </c:pt>
                <c:pt idx="2">
                  <c:v>257.80507299368855</c:v>
                </c:pt>
                <c:pt idx="3">
                  <c:v>208.79507907917628</c:v>
                </c:pt>
                <c:pt idx="4">
                  <c:v>171.56022918833474</c:v>
                </c:pt>
                <c:pt idx="5">
                  <c:v>138.70573768391537</c:v>
                </c:pt>
                <c:pt idx="6">
                  <c:v>124.07368135551255</c:v>
                </c:pt>
                <c:pt idx="7">
                  <c:v>130.74101247072281</c:v>
                </c:pt>
                <c:pt idx="8">
                  <c:v>137.93860382431137</c:v>
                </c:pt>
                <c:pt idx="9">
                  <c:v>155.9277725916082</c:v>
                </c:pt>
                <c:pt idx="10">
                  <c:v>197.05961439307126</c:v>
                </c:pt>
                <c:pt idx="11">
                  <c:v>251.11609860344242</c:v>
                </c:pt>
                <c:pt idx="12">
                  <c:v>272.17861242582984</c:v>
                </c:pt>
                <c:pt idx="13">
                  <c:v>274.58221835897774</c:v>
                </c:pt>
                <c:pt idx="14">
                  <c:v>313.01706761014032</c:v>
                </c:pt>
                <c:pt idx="15">
                  <c:v>344.87115884623597</c:v>
                </c:pt>
                <c:pt idx="16">
                  <c:v>324.1092460660131</c:v>
                </c:pt>
                <c:pt idx="17">
                  <c:v>271.46919396632143</c:v>
                </c:pt>
                <c:pt idx="18">
                  <c:v>206.57063136715846</c:v>
                </c:pt>
                <c:pt idx="19">
                  <c:v>148.51254608349245</c:v>
                </c:pt>
                <c:pt idx="20">
                  <c:v>99.274095376935122</c:v>
                </c:pt>
                <c:pt idx="21">
                  <c:v>60.773113896496405</c:v>
                </c:pt>
                <c:pt idx="22">
                  <c:v>41.72582946078029</c:v>
                </c:pt>
                <c:pt idx="23">
                  <c:v>25.603994367409818</c:v>
                </c:pt>
                <c:pt idx="24">
                  <c:v>14.528649569898224</c:v>
                </c:pt>
                <c:pt idx="25">
                  <c:v>9.9907762373818052</c:v>
                </c:pt>
                <c:pt idx="26">
                  <c:v>10.891376959706871</c:v>
                </c:pt>
                <c:pt idx="27">
                  <c:v>17.624840304193345</c:v>
                </c:pt>
                <c:pt idx="28">
                  <c:v>26.110206522414959</c:v>
                </c:pt>
                <c:pt idx="29">
                  <c:v>33.804390797659416</c:v>
                </c:pt>
                <c:pt idx="30">
                  <c:v>43.149475996471715</c:v>
                </c:pt>
                <c:pt idx="31">
                  <c:v>63.055277008609856</c:v>
                </c:pt>
                <c:pt idx="32">
                  <c:v>98.175097966781451</c:v>
                </c:pt>
                <c:pt idx="33">
                  <c:v>139.3598455516655</c:v>
                </c:pt>
                <c:pt idx="34">
                  <c:v>169.48247478489321</c:v>
                </c:pt>
                <c:pt idx="35">
                  <c:v>175.91894429972106</c:v>
                </c:pt>
                <c:pt idx="36">
                  <c:v>159.99550589417925</c:v>
                </c:pt>
                <c:pt idx="37">
                  <c:v>138.25724092900583</c:v>
                </c:pt>
                <c:pt idx="38">
                  <c:v>132.25123210655764</c:v>
                </c:pt>
                <c:pt idx="39">
                  <c:v>137.40112916092113</c:v>
                </c:pt>
                <c:pt idx="40">
                  <c:v>147.8079372406587</c:v>
                </c:pt>
                <c:pt idx="41">
                  <c:v>188.28927838687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G$2:$G$43</c:f>
              <c:numCache>
                <c:formatCode>General</c:formatCode>
                <c:ptCount val="42"/>
                <c:pt idx="0">
                  <c:v>631.87972369515933</c:v>
                </c:pt>
                <c:pt idx="1">
                  <c:v>526.7473920133090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601891359427</c:v>
                </c:pt>
                <c:pt idx="5">
                  <c:v>292.2116996700002</c:v>
                </c:pt>
                <c:pt idx="6">
                  <c:v>292.29786900365559</c:v>
                </c:pt>
                <c:pt idx="7">
                  <c:v>340.82269309614173</c:v>
                </c:pt>
                <c:pt idx="8">
                  <c:v>363.62309878136455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590026991101</c:v>
                </c:pt>
                <c:pt idx="12">
                  <c:v>578.59260776265057</c:v>
                </c:pt>
                <c:pt idx="13">
                  <c:v>564.357433842776</c:v>
                </c:pt>
                <c:pt idx="14">
                  <c:v>584.01553116069806</c:v>
                </c:pt>
                <c:pt idx="15">
                  <c:v>634.93586272880475</c:v>
                </c:pt>
                <c:pt idx="16">
                  <c:v>596.41242596259042</c:v>
                </c:pt>
                <c:pt idx="17">
                  <c:v>568.34994630214362</c:v>
                </c:pt>
                <c:pt idx="18">
                  <c:v>520.69830479069901</c:v>
                </c:pt>
                <c:pt idx="19">
                  <c:v>380.63292524494352</c:v>
                </c:pt>
                <c:pt idx="20">
                  <c:v>282.70434985668606</c:v>
                </c:pt>
                <c:pt idx="21">
                  <c:v>212.73485092848892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6566505348098</c:v>
                </c:pt>
                <c:pt idx="27">
                  <c:v>627.43913070078361</c:v>
                </c:pt>
                <c:pt idx="28">
                  <c:v>661.14282940453836</c:v>
                </c:pt>
                <c:pt idx="29">
                  <c:v>398.52742353405142</c:v>
                </c:pt>
                <c:pt idx="30">
                  <c:v>243.80176802238796</c:v>
                </c:pt>
                <c:pt idx="31">
                  <c:v>196.21906197786771</c:v>
                </c:pt>
                <c:pt idx="32">
                  <c:v>189.76785119819894</c:v>
                </c:pt>
                <c:pt idx="33">
                  <c:v>199.62562296837842</c:v>
                </c:pt>
                <c:pt idx="34">
                  <c:v>203.88238805095594</c:v>
                </c:pt>
                <c:pt idx="35">
                  <c:v>197.48287887148044</c:v>
                </c:pt>
                <c:pt idx="36">
                  <c:v>176.58394314892044</c:v>
                </c:pt>
                <c:pt idx="37">
                  <c:v>147.27488046159189</c:v>
                </c:pt>
                <c:pt idx="38">
                  <c:v>133.03970654171729</c:v>
                </c:pt>
                <c:pt idx="39">
                  <c:v>159.02837757219052</c:v>
                </c:pt>
                <c:pt idx="40">
                  <c:v>227.93512138530417</c:v>
                </c:pt>
                <c:pt idx="41">
                  <c:v>335.69274543252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J$2:$J$43</c:f>
              <c:numCache>
                <c:formatCode>General</c:formatCode>
                <c:ptCount val="42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B$2:$B$43</c:f>
              <c:numCache>
                <c:formatCode>General</c:formatCode>
                <c:ptCount val="42"/>
                <c:pt idx="0">
                  <c:v>331.7693255547876</c:v>
                </c:pt>
                <c:pt idx="1">
                  <c:v>287.41507756825473</c:v>
                </c:pt>
                <c:pt idx="2">
                  <c:v>237.15142369496499</c:v>
                </c:pt>
                <c:pt idx="3">
                  <c:v>220.99605170797557</c:v>
                </c:pt>
                <c:pt idx="4">
                  <c:v>209.25588221812583</c:v>
                </c:pt>
                <c:pt idx="5">
                  <c:v>208.73909006833341</c:v>
                </c:pt>
                <c:pt idx="6">
                  <c:v>237.06154679934895</c:v>
                </c:pt>
                <c:pt idx="7">
                  <c:v>290.30237283992113</c:v>
                </c:pt>
                <c:pt idx="8">
                  <c:v>343.12751823826903</c:v>
                </c:pt>
                <c:pt idx="9">
                  <c:v>388.38053518096262</c:v>
                </c:pt>
                <c:pt idx="10">
                  <c:v>441.78988040081498</c:v>
                </c:pt>
                <c:pt idx="11">
                  <c:v>487.71697406062913</c:v>
                </c:pt>
                <c:pt idx="12">
                  <c:v>484.26794819136228</c:v>
                </c:pt>
                <c:pt idx="13">
                  <c:v>431.34169128544636</c:v>
                </c:pt>
                <c:pt idx="14">
                  <c:v>386.7739856718253</c:v>
                </c:pt>
                <c:pt idx="15">
                  <c:v>358.0021444627294</c:v>
                </c:pt>
                <c:pt idx="16">
                  <c:v>309.85059763641743</c:v>
                </c:pt>
                <c:pt idx="17">
                  <c:v>242.11712217775315</c:v>
                </c:pt>
                <c:pt idx="18">
                  <c:v>165.71052629213767</c:v>
                </c:pt>
                <c:pt idx="19">
                  <c:v>111.07660836951628</c:v>
                </c:pt>
                <c:pt idx="20">
                  <c:v>82.16995181699626</c:v>
                </c:pt>
                <c:pt idx="21">
                  <c:v>62.71160391611609</c:v>
                </c:pt>
                <c:pt idx="22">
                  <c:v>46.14055128690233</c:v>
                </c:pt>
                <c:pt idx="23">
                  <c:v>30.176167703097068</c:v>
                </c:pt>
                <c:pt idx="24">
                  <c:v>18.885382691327688</c:v>
                </c:pt>
                <c:pt idx="25">
                  <c:v>14.728576269084234</c:v>
                </c:pt>
                <c:pt idx="26">
                  <c:v>19.346001781360069</c:v>
                </c:pt>
                <c:pt idx="27">
                  <c:v>36.871996426494633</c:v>
                </c:pt>
                <c:pt idx="28">
                  <c:v>53.038603025436061</c:v>
                </c:pt>
                <c:pt idx="29">
                  <c:v>64.924822470661937</c:v>
                </c:pt>
                <c:pt idx="30">
                  <c:v>77.698576260096544</c:v>
                </c:pt>
                <c:pt idx="31">
                  <c:v>107.33548258949716</c:v>
                </c:pt>
                <c:pt idx="32">
                  <c:v>156.67789828272214</c:v>
                </c:pt>
                <c:pt idx="33">
                  <c:v>196.52706687649925</c:v>
                </c:pt>
                <c:pt idx="34">
                  <c:v>233.00585188467355</c:v>
                </c:pt>
                <c:pt idx="35">
                  <c:v>284.85358604319663</c:v>
                </c:pt>
                <c:pt idx="36">
                  <c:v>312.16492769853136</c:v>
                </c:pt>
                <c:pt idx="37">
                  <c:v>286.2579125371978</c:v>
                </c:pt>
                <c:pt idx="38">
                  <c:v>273.36057801629107</c:v>
                </c:pt>
                <c:pt idx="39">
                  <c:v>284.95469755076471</c:v>
                </c:pt>
                <c:pt idx="40">
                  <c:v>316.63630325543107</c:v>
                </c:pt>
                <c:pt idx="41">
                  <c:v>442.45272250598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L$2:$L$43</c:f>
              <c:numCache>
                <c:formatCode>General</c:formatCode>
                <c:ptCount val="42"/>
                <c:pt idx="0">
                  <c:v>1578.4354088121875</c:v>
                </c:pt>
                <c:pt idx="1">
                  <c:v>1340.9985904765465</c:v>
                </c:pt>
                <c:pt idx="2">
                  <c:v>1244.4041845605423</c:v>
                </c:pt>
                <c:pt idx="3">
                  <c:v>1277.6588975228995</c:v>
                </c:pt>
                <c:pt idx="4">
                  <c:v>1245.8699570327121</c:v>
                </c:pt>
                <c:pt idx="5">
                  <c:v>1289.3301108325531</c:v>
                </c:pt>
                <c:pt idx="6">
                  <c:v>1289.9530641332256</c:v>
                </c:pt>
                <c:pt idx="7">
                  <c:v>1346.1654384409458</c:v>
                </c:pt>
                <c:pt idx="8">
                  <c:v>1291.4738030731019</c:v>
                </c:pt>
                <c:pt idx="9">
                  <c:v>1132.3458790631441</c:v>
                </c:pt>
                <c:pt idx="10">
                  <c:v>951.2680122824404</c:v>
                </c:pt>
                <c:pt idx="11">
                  <c:v>780.02914322117795</c:v>
                </c:pt>
                <c:pt idx="12">
                  <c:v>621.26766232926275</c:v>
                </c:pt>
                <c:pt idx="13">
                  <c:v>487.29605837292291</c:v>
                </c:pt>
                <c:pt idx="14">
                  <c:v>394.62259381997342</c:v>
                </c:pt>
                <c:pt idx="15">
                  <c:v>331.41115595764137</c:v>
                </c:pt>
                <c:pt idx="16">
                  <c:v>277.98374934704418</c:v>
                </c:pt>
                <c:pt idx="17">
                  <c:v>216.53123845131614</c:v>
                </c:pt>
                <c:pt idx="18">
                  <c:v>159.42107850439172</c:v>
                </c:pt>
                <c:pt idx="19">
                  <c:v>113.34085641054675</c:v>
                </c:pt>
                <c:pt idx="20">
                  <c:v>79.243324276691681</c:v>
                </c:pt>
                <c:pt idx="21">
                  <c:v>60.6829803478388</c:v>
                </c:pt>
                <c:pt idx="22">
                  <c:v>44.632771777577091</c:v>
                </c:pt>
                <c:pt idx="23">
                  <c:v>27.886321283034619</c:v>
                </c:pt>
                <c:pt idx="24">
                  <c:v>16.654839715031844</c:v>
                </c:pt>
                <c:pt idx="25">
                  <c:v>11.304770191611274</c:v>
                </c:pt>
                <c:pt idx="26">
                  <c:v>8.4648360267818621</c:v>
                </c:pt>
                <c:pt idx="27">
                  <c:v>8.2266480000542348</c:v>
                </c:pt>
                <c:pt idx="28">
                  <c:v>9.7657090958327544</c:v>
                </c:pt>
                <c:pt idx="29">
                  <c:v>13.485106743964177</c:v>
                </c:pt>
                <c:pt idx="30">
                  <c:v>15.390610957785205</c:v>
                </c:pt>
                <c:pt idx="31">
                  <c:v>18.120612187201864</c:v>
                </c:pt>
                <c:pt idx="32">
                  <c:v>22.7927619422438</c:v>
                </c:pt>
                <c:pt idx="33">
                  <c:v>27.391623073677238</c:v>
                </c:pt>
                <c:pt idx="34">
                  <c:v>46.336732276474734</c:v>
                </c:pt>
                <c:pt idx="35">
                  <c:v>87.598227368060776</c:v>
                </c:pt>
                <c:pt idx="36">
                  <c:v>146.48563643749131</c:v>
                </c:pt>
                <c:pt idx="37">
                  <c:v>210.41163838000631</c:v>
                </c:pt>
                <c:pt idx="38">
                  <c:v>279.68770984594181</c:v>
                </c:pt>
                <c:pt idx="39">
                  <c:v>359.99371916495676</c:v>
                </c:pt>
                <c:pt idx="40">
                  <c:v>446.63919442610705</c:v>
                </c:pt>
                <c:pt idx="41">
                  <c:v>656.40955734953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3</c:f>
              <c:numCache>
                <c:formatCode>General</c:formatCode>
                <c:ptCount val="42"/>
                <c:pt idx="0">
                  <c:v>626.00176698459973</c:v>
                </c:pt>
                <c:pt idx="1">
                  <c:v>897.55871078660482</c:v>
                </c:pt>
                <c:pt idx="2">
                  <c:v>1004.4617438622763</c:v>
                </c:pt>
                <c:pt idx="3">
                  <c:v>877.69925404922697</c:v>
                </c:pt>
                <c:pt idx="4">
                  <c:v>611.90366540922503</c:v>
                </c:pt>
                <c:pt idx="5">
                  <c:v>375.22330797111692</c:v>
                </c:pt>
                <c:pt idx="6">
                  <c:v>237.55079320149105</c:v>
                </c:pt>
                <c:pt idx="7">
                  <c:v>97.617680696865804</c:v>
                </c:pt>
                <c:pt idx="8">
                  <c:v>70.441915589111559</c:v>
                </c:pt>
                <c:pt idx="9">
                  <c:v>139.62254440458327</c:v>
                </c:pt>
                <c:pt idx="10">
                  <c:v>144.84727169304446</c:v>
                </c:pt>
                <c:pt idx="11">
                  <c:v>168.19480960844461</c:v>
                </c:pt>
                <c:pt idx="12">
                  <c:v>195.17409285698864</c:v>
                </c:pt>
                <c:pt idx="13">
                  <c:v>226.86048989392387</c:v>
                </c:pt>
                <c:pt idx="14">
                  <c:v>247.7255957171518</c:v>
                </c:pt>
                <c:pt idx="15">
                  <c:v>242.77552048995224</c:v>
                </c:pt>
                <c:pt idx="16">
                  <c:v>224.01467199762089</c:v>
                </c:pt>
                <c:pt idx="17">
                  <c:v>189.4655553990743</c:v>
                </c:pt>
                <c:pt idx="18">
                  <c:v>156.1058934966068</c:v>
                </c:pt>
                <c:pt idx="19">
                  <c:v>139.3035254718871</c:v>
                </c:pt>
                <c:pt idx="20">
                  <c:v>131.96186460354798</c:v>
                </c:pt>
                <c:pt idx="21">
                  <c:v>122.95116428600373</c:v>
                </c:pt>
                <c:pt idx="22">
                  <c:v>108.40728128811985</c:v>
                </c:pt>
                <c:pt idx="23">
                  <c:v>101.39731560145822</c:v>
                </c:pt>
                <c:pt idx="24">
                  <c:v>127.52095204376415</c:v>
                </c:pt>
                <c:pt idx="25">
                  <c:v>265.58854323997406</c:v>
                </c:pt>
                <c:pt idx="26">
                  <c:v>495.3941483138878</c:v>
                </c:pt>
                <c:pt idx="27">
                  <c:v>693.14363242224488</c:v>
                </c:pt>
                <c:pt idx="28">
                  <c:v>776.03784992732494</c:v>
                </c:pt>
                <c:pt idx="29">
                  <c:v>703.03110662766267</c:v>
                </c:pt>
                <c:pt idx="30">
                  <c:v>550.36892743764372</c:v>
                </c:pt>
                <c:pt idx="31">
                  <c:v>410.11045787583168</c:v>
                </c:pt>
                <c:pt idx="32">
                  <c:v>309.32794034996675</c:v>
                </c:pt>
                <c:pt idx="33">
                  <c:v>230.44364293930605</c:v>
                </c:pt>
                <c:pt idx="34">
                  <c:v>158.28198290506415</c:v>
                </c:pt>
                <c:pt idx="35">
                  <c:v>106.94106182261558</c:v>
                </c:pt>
                <c:pt idx="36">
                  <c:v>79.925862535291216</c:v>
                </c:pt>
                <c:pt idx="37">
                  <c:v>65.365077872098922</c:v>
                </c:pt>
                <c:pt idx="38">
                  <c:v>53.753633805223608</c:v>
                </c:pt>
                <c:pt idx="39">
                  <c:v>46.785922281832988</c:v>
                </c:pt>
                <c:pt idx="40">
                  <c:v>45.95351526539396</c:v>
                </c:pt>
                <c:pt idx="41">
                  <c:v>39.036508737928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H$2:$H$43</c:f>
              <c:numCache>
                <c:formatCode>General</c:formatCode>
                <c:ptCount val="42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I$2:$I$43</c:f>
              <c:numCache>
                <c:formatCode>General</c:formatCode>
                <c:ptCount val="42"/>
                <c:pt idx="0">
                  <c:v>129.48646293666968</c:v>
                </c:pt>
                <c:pt idx="1">
                  <c:v>123.09024824603122</c:v>
                </c:pt>
                <c:pt idx="2">
                  <c:v>133.86053648359203</c:v>
                </c:pt>
                <c:pt idx="3">
                  <c:v>147.52083760036936</c:v>
                </c:pt>
                <c:pt idx="4">
                  <c:v>133.4526367679068</c:v>
                </c:pt>
                <c:pt idx="5">
                  <c:v>112.23317283492037</c:v>
                </c:pt>
                <c:pt idx="6">
                  <c:v>135.91739249672813</c:v>
                </c:pt>
                <c:pt idx="7">
                  <c:v>147.14765275410417</c:v>
                </c:pt>
                <c:pt idx="8">
                  <c:v>144.94325854593296</c:v>
                </c:pt>
                <c:pt idx="9">
                  <c:v>187.06107386977064</c:v>
                </c:pt>
                <c:pt idx="10">
                  <c:v>257.02021446846328</c:v>
                </c:pt>
                <c:pt idx="11">
                  <c:v>297.58453938575514</c:v>
                </c:pt>
                <c:pt idx="12">
                  <c:v>262.21876616411106</c:v>
                </c:pt>
                <c:pt idx="13">
                  <c:v>212.0904947216041</c:v>
                </c:pt>
                <c:pt idx="14">
                  <c:v>213.98245510499513</c:v>
                </c:pt>
                <c:pt idx="15">
                  <c:v>214.26885277771026</c:v>
                </c:pt>
                <c:pt idx="16">
                  <c:v>182.44399623690816</c:v>
                </c:pt>
                <c:pt idx="17">
                  <c:v>184.27520559881415</c:v>
                </c:pt>
                <c:pt idx="18">
                  <c:v>129.43439063253965</c:v>
                </c:pt>
                <c:pt idx="19">
                  <c:v>150.12445280687075</c:v>
                </c:pt>
                <c:pt idx="20">
                  <c:v>106.14939196906211</c:v>
                </c:pt>
                <c:pt idx="21">
                  <c:v>79.141223560287571</c:v>
                </c:pt>
                <c:pt idx="22">
                  <c:v>45.840985069134661</c:v>
                </c:pt>
                <c:pt idx="23">
                  <c:v>26.270477433599133</c:v>
                </c:pt>
                <c:pt idx="24">
                  <c:v>21.314929823891468</c:v>
                </c:pt>
                <c:pt idx="25">
                  <c:v>35.469917829904084</c:v>
                </c:pt>
                <c:pt idx="26">
                  <c:v>65.185846053440073</c:v>
                </c:pt>
                <c:pt idx="27">
                  <c:v>82.803642284099553</c:v>
                </c:pt>
                <c:pt idx="28">
                  <c:v>90.137158449078498</c:v>
                </c:pt>
                <c:pt idx="29">
                  <c:v>97.878574329742662</c:v>
                </c:pt>
                <c:pt idx="30">
                  <c:v>106.1407132517071</c:v>
                </c:pt>
                <c:pt idx="31">
                  <c:v>115.72201721163225</c:v>
                </c:pt>
                <c:pt idx="32">
                  <c:v>119.90515897674452</c:v>
                </c:pt>
                <c:pt idx="33">
                  <c:v>122.42198700969585</c:v>
                </c:pt>
                <c:pt idx="34">
                  <c:v>119.33236363131419</c:v>
                </c:pt>
                <c:pt idx="35">
                  <c:v>119.21954030569916</c:v>
                </c:pt>
                <c:pt idx="36">
                  <c:v>125.42482321452746</c:v>
                </c:pt>
                <c:pt idx="37">
                  <c:v>118.16941550574357</c:v>
                </c:pt>
                <c:pt idx="38">
                  <c:v>115.34883236536706</c:v>
                </c:pt>
                <c:pt idx="39">
                  <c:v>128.68802094000924</c:v>
                </c:pt>
                <c:pt idx="40">
                  <c:v>197.47553469577625</c:v>
                </c:pt>
                <c:pt idx="41">
                  <c:v>194.30780286119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C$2:$C$43</c:f>
              <c:numCache>
                <c:formatCode>General</c:formatCode>
                <c:ptCount val="42"/>
                <c:pt idx="0">
                  <c:v>831.29331483936846</c:v>
                </c:pt>
                <c:pt idx="1">
                  <c:v>527.67273125459201</c:v>
                </c:pt>
                <c:pt idx="2">
                  <c:v>450.47012143981743</c:v>
                </c:pt>
                <c:pt idx="3">
                  <c:v>443.11081258271628</c:v>
                </c:pt>
                <c:pt idx="4">
                  <c:v>468.26524819339255</c:v>
                </c:pt>
                <c:pt idx="5">
                  <c:v>500.31143809591589</c:v>
                </c:pt>
                <c:pt idx="6">
                  <c:v>620.14567317056878</c:v>
                </c:pt>
                <c:pt idx="7">
                  <c:v>775.58886393498221</c:v>
                </c:pt>
                <c:pt idx="8">
                  <c:v>798.08758961501451</c:v>
                </c:pt>
                <c:pt idx="9">
                  <c:v>721.66112037856203</c:v>
                </c:pt>
                <c:pt idx="10">
                  <c:v>607.57780645653577</c:v>
                </c:pt>
                <c:pt idx="11">
                  <c:v>462.3927628537997</c:v>
                </c:pt>
                <c:pt idx="12">
                  <c:v>346.22415557073964</c:v>
                </c:pt>
                <c:pt idx="13">
                  <c:v>255.98612447667784</c:v>
                </c:pt>
                <c:pt idx="14">
                  <c:v>201.20743161149505</c:v>
                </c:pt>
                <c:pt idx="15">
                  <c:v>163.4383738302603</c:v>
                </c:pt>
                <c:pt idx="16">
                  <c:v>134.59960824538086</c:v>
                </c:pt>
                <c:pt idx="17">
                  <c:v>101.31907429058646</c:v>
                </c:pt>
                <c:pt idx="18">
                  <c:v>71.348826657791861</c:v>
                </c:pt>
                <c:pt idx="19">
                  <c:v>46.68064779497994</c:v>
                </c:pt>
                <c:pt idx="20">
                  <c:v>29.858034537133602</c:v>
                </c:pt>
                <c:pt idx="21">
                  <c:v>21.928309110422269</c:v>
                </c:pt>
                <c:pt idx="22">
                  <c:v>13.231794196694034</c:v>
                </c:pt>
                <c:pt idx="23">
                  <c:v>8.7245681876434862</c:v>
                </c:pt>
                <c:pt idx="24">
                  <c:v>6.452253000508045</c:v>
                </c:pt>
                <c:pt idx="25">
                  <c:v>9.4259000355247959</c:v>
                </c:pt>
                <c:pt idx="26">
                  <c:v>12.698781992304239</c:v>
                </c:pt>
                <c:pt idx="27">
                  <c:v>15.027203727270187</c:v>
                </c:pt>
                <c:pt idx="28">
                  <c:v>12.530462348812724</c:v>
                </c:pt>
                <c:pt idx="29">
                  <c:v>11.006234466084013</c:v>
                </c:pt>
                <c:pt idx="30">
                  <c:v>11.174554109575528</c:v>
                </c:pt>
                <c:pt idx="31">
                  <c:v>11.894588140067004</c:v>
                </c:pt>
                <c:pt idx="32">
                  <c:v>12.137716513999193</c:v>
                </c:pt>
                <c:pt idx="33">
                  <c:v>12.259280700965284</c:v>
                </c:pt>
                <c:pt idx="34">
                  <c:v>16.355058692592131</c:v>
                </c:pt>
                <c:pt idx="35">
                  <c:v>24.331539575828888</c:v>
                </c:pt>
                <c:pt idx="36">
                  <c:v>28.483424115286237</c:v>
                </c:pt>
                <c:pt idx="37">
                  <c:v>30.316238011082724</c:v>
                </c:pt>
                <c:pt idx="38">
                  <c:v>41.93964450330229</c:v>
                </c:pt>
                <c:pt idx="39">
                  <c:v>55.695099813081036</c:v>
                </c:pt>
                <c:pt idx="40">
                  <c:v>89.948147263604184</c:v>
                </c:pt>
                <c:pt idx="41">
                  <c:v>201.16067615496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D$2:$D$43</c:f>
              <c:numCache>
                <c:formatCode>General</c:formatCode>
                <c:ptCount val="42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06456414221842</c:v>
                </c:pt>
                <c:pt idx="40">
                  <c:v>48.514401676904903</c:v>
                </c:pt>
                <c:pt idx="41">
                  <c:v>52.941006606395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F$2:$F$43</c:f>
              <c:numCache>
                <c:formatCode>General</c:formatCode>
                <c:ptCount val="42"/>
                <c:pt idx="0">
                  <c:v>204.627691381543</c:v>
                </c:pt>
                <c:pt idx="1">
                  <c:v>157.61679185469015</c:v>
                </c:pt>
                <c:pt idx="2">
                  <c:v>142.46458773798534</c:v>
                </c:pt>
                <c:pt idx="3">
                  <c:v>138.50928736050315</c:v>
                </c:pt>
                <c:pt idx="4">
                  <c:v>139.69302710891452</c:v>
                </c:pt>
                <c:pt idx="5">
                  <c:v>139.65110997901328</c:v>
                </c:pt>
                <c:pt idx="6">
                  <c:v>150.54285701255475</c:v>
                </c:pt>
                <c:pt idx="7">
                  <c:v>203.69545441253916</c:v>
                </c:pt>
                <c:pt idx="8">
                  <c:v>239.08692553076477</c:v>
                </c:pt>
                <c:pt idx="9">
                  <c:v>261.53103356509149</c:v>
                </c:pt>
                <c:pt idx="10">
                  <c:v>250.34083656665308</c:v>
                </c:pt>
                <c:pt idx="11">
                  <c:v>242.16699623590878</c:v>
                </c:pt>
                <c:pt idx="12">
                  <c:v>220.37847211323768</c:v>
                </c:pt>
                <c:pt idx="13">
                  <c:v>168.91429670567575</c:v>
                </c:pt>
                <c:pt idx="14">
                  <c:v>164.00496245164103</c:v>
                </c:pt>
                <c:pt idx="15">
                  <c:v>153.0411179546694</c:v>
                </c:pt>
                <c:pt idx="16">
                  <c:v>130.70264108769385</c:v>
                </c:pt>
                <c:pt idx="17">
                  <c:v>106.83167395152851</c:v>
                </c:pt>
                <c:pt idx="18">
                  <c:v>74.372725241194516</c:v>
                </c:pt>
                <c:pt idx="19">
                  <c:v>50.984643441491606</c:v>
                </c:pt>
                <c:pt idx="20">
                  <c:v>37.567808502698661</c:v>
                </c:pt>
                <c:pt idx="21">
                  <c:v>27.323261954832518</c:v>
                </c:pt>
                <c:pt idx="22">
                  <c:v>19.394217662711565</c:v>
                </c:pt>
                <c:pt idx="23">
                  <c:v>12.410823821162879</c:v>
                </c:pt>
                <c:pt idx="24">
                  <c:v>8.8294242423998544</c:v>
                </c:pt>
                <c:pt idx="25">
                  <c:v>9.4280008573897423</c:v>
                </c:pt>
                <c:pt idx="26">
                  <c:v>14.759859780829078</c:v>
                </c:pt>
                <c:pt idx="27">
                  <c:v>31.57868898240768</c:v>
                </c:pt>
                <c:pt idx="28">
                  <c:v>52.413179228526296</c:v>
                </c:pt>
                <c:pt idx="29">
                  <c:v>64.295847212933396</c:v>
                </c:pt>
                <c:pt idx="30">
                  <c:v>71.187023368699329</c:v>
                </c:pt>
                <c:pt idx="31">
                  <c:v>72.266808634955581</c:v>
                </c:pt>
                <c:pt idx="32">
                  <c:v>75.866651750875164</c:v>
                </c:pt>
                <c:pt idx="33">
                  <c:v>77.117458907128537</c:v>
                </c:pt>
                <c:pt idx="34">
                  <c:v>66.951716563476751</c:v>
                </c:pt>
                <c:pt idx="35">
                  <c:v>55.258514006223315</c:v>
                </c:pt>
                <c:pt idx="36">
                  <c:v>48.355601054085035</c:v>
                </c:pt>
                <c:pt idx="37">
                  <c:v>39.583184108350885</c:v>
                </c:pt>
                <c:pt idx="38">
                  <c:v>34.932059374507894</c:v>
                </c:pt>
                <c:pt idx="39">
                  <c:v>29.937214175474629</c:v>
                </c:pt>
                <c:pt idx="40">
                  <c:v>29.737688637144668</c:v>
                </c:pt>
                <c:pt idx="41">
                  <c:v>29.533133043226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K$2:$K$43</c:f>
              <c:numCache>
                <c:formatCode>General</c:formatCode>
                <c:ptCount val="42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7200891834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E$2:$E$43</c:f>
              <c:numCache>
                <c:formatCode>General</c:formatCode>
                <c:ptCount val="42"/>
                <c:pt idx="0">
                  <c:v>174.87886469383164</c:v>
                </c:pt>
                <c:pt idx="1">
                  <c:v>142.95142680344782</c:v>
                </c:pt>
                <c:pt idx="2">
                  <c:v>114.85364619024071</c:v>
                </c:pt>
                <c:pt idx="3">
                  <c:v>93.941432888935566</c:v>
                </c:pt>
                <c:pt idx="4">
                  <c:v>77.618796299399165</c:v>
                </c:pt>
                <c:pt idx="5">
                  <c:v>61.086941384516216</c:v>
                </c:pt>
                <c:pt idx="6">
                  <c:v>62.986739970996325</c:v>
                </c:pt>
                <c:pt idx="7">
                  <c:v>67.754272499726483</c:v>
                </c:pt>
                <c:pt idx="8">
                  <c:v>70.184331324584903</c:v>
                </c:pt>
                <c:pt idx="9">
                  <c:v>85.7434412670233</c:v>
                </c:pt>
                <c:pt idx="10">
                  <c:v>111.316173126048</c:v>
                </c:pt>
                <c:pt idx="11">
                  <c:v>139.79992547739442</c:v>
                </c:pt>
                <c:pt idx="12">
                  <c:v>132.37868694843542</c:v>
                </c:pt>
                <c:pt idx="13">
                  <c:v>142.20353141054238</c:v>
                </c:pt>
                <c:pt idx="14">
                  <c:v>170.81353619959793</c:v>
                </c:pt>
                <c:pt idx="15">
                  <c:v>174.05762264663804</c:v>
                </c:pt>
                <c:pt idx="16">
                  <c:v>150.05162341937509</c:v>
                </c:pt>
                <c:pt idx="17">
                  <c:v>121.41757054694638</c:v>
                </c:pt>
                <c:pt idx="18">
                  <c:v>85.153060820212076</c:v>
                </c:pt>
                <c:pt idx="19">
                  <c:v>63.359485263280398</c:v>
                </c:pt>
                <c:pt idx="20">
                  <c:v>35.914610113654732</c:v>
                </c:pt>
                <c:pt idx="21">
                  <c:v>24.858503782841673</c:v>
                </c:pt>
                <c:pt idx="22">
                  <c:v>16.867325677938616</c:v>
                </c:pt>
                <c:pt idx="23">
                  <c:v>8.7366686894712</c:v>
                </c:pt>
                <c:pt idx="24">
                  <c:v>5.7919808804270252</c:v>
                </c:pt>
                <c:pt idx="25">
                  <c:v>4.19879535695478</c:v>
                </c:pt>
                <c:pt idx="26">
                  <c:v>6.6925816027520924</c:v>
                </c:pt>
                <c:pt idx="27">
                  <c:v>10.932258701441254</c:v>
                </c:pt>
                <c:pt idx="28">
                  <c:v>15.177947820973708</c:v>
                </c:pt>
                <c:pt idx="29">
                  <c:v>18.626442976685709</c:v>
                </c:pt>
                <c:pt idx="30">
                  <c:v>24.523033019786002</c:v>
                </c:pt>
                <c:pt idx="31">
                  <c:v>38.532243988823851</c:v>
                </c:pt>
                <c:pt idx="32">
                  <c:v>59.642853977957593</c:v>
                </c:pt>
                <c:pt idx="33">
                  <c:v>79.716991573707901</c:v>
                </c:pt>
                <c:pt idx="34">
                  <c:v>89.765483211185312</c:v>
                </c:pt>
                <c:pt idx="35">
                  <c:v>86.153461088535778</c:v>
                </c:pt>
                <c:pt idx="36">
                  <c:v>73.84204480564344</c:v>
                </c:pt>
                <c:pt idx="37">
                  <c:v>64.415196123362392</c:v>
                </c:pt>
                <c:pt idx="38">
                  <c:v>67.836035983195245</c:v>
                </c:pt>
                <c:pt idx="39">
                  <c:v>69.565093177725885</c:v>
                </c:pt>
                <c:pt idx="40">
                  <c:v>78.242844062932818</c:v>
                </c:pt>
                <c:pt idx="41">
                  <c:v>110.04643432394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G$2:$G$43</c:f>
              <c:numCache>
                <c:formatCode>General</c:formatCode>
                <c:ptCount val="42"/>
                <c:pt idx="0">
                  <c:v>297.6403676902913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832920534353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532317090509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743878315114</c:v>
                </c:pt>
                <c:pt idx="12">
                  <c:v>285.83516897949943</c:v>
                </c:pt>
                <c:pt idx="13">
                  <c:v>278.52226486327658</c:v>
                </c:pt>
                <c:pt idx="14">
                  <c:v>305.49326629742148</c:v>
                </c:pt>
                <c:pt idx="15">
                  <c:v>329.44259643138321</c:v>
                </c:pt>
                <c:pt idx="16">
                  <c:v>266.96982953120727</c:v>
                </c:pt>
                <c:pt idx="17">
                  <c:v>301.38011677093635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96126315051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7217595088579</c:v>
                </c:pt>
                <c:pt idx="27">
                  <c:v>402.76695474989776</c:v>
                </c:pt>
                <c:pt idx="28">
                  <c:v>258.37587465464048</c:v>
                </c:pt>
                <c:pt idx="29">
                  <c:v>140.15154887941091</c:v>
                </c:pt>
                <c:pt idx="30">
                  <c:v>103.65021914297704</c:v>
                </c:pt>
                <c:pt idx="31">
                  <c:v>92.568842834890646</c:v>
                </c:pt>
                <c:pt idx="32">
                  <c:v>97.199008363308295</c:v>
                </c:pt>
                <c:pt idx="33">
                  <c:v>102.42661460507016</c:v>
                </c:pt>
                <c:pt idx="34">
                  <c:v>101.4557734458858</c:v>
                </c:pt>
                <c:pt idx="35">
                  <c:v>96.027105425594641</c:v>
                </c:pt>
                <c:pt idx="36">
                  <c:v>80.556837723325771</c:v>
                </c:pt>
                <c:pt idx="37">
                  <c:v>66.718042738266107</c:v>
                </c:pt>
                <c:pt idx="38">
                  <c:v>66.321663803451187</c:v>
                </c:pt>
                <c:pt idx="39">
                  <c:v>92.706713768739306</c:v>
                </c:pt>
                <c:pt idx="40">
                  <c:v>135.22840761656485</c:v>
                </c:pt>
                <c:pt idx="41">
                  <c:v>200.46433781595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J$2:$J$43</c:f>
              <c:numCache>
                <c:formatCode>General</c:formatCode>
                <c:ptCount val="42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B$2:$B$43</c:f>
              <c:numCache>
                <c:formatCode>General</c:formatCode>
                <c:ptCount val="42"/>
                <c:pt idx="0">
                  <c:v>164.41854591765659</c:v>
                </c:pt>
                <c:pt idx="1">
                  <c:v>122.99653165059817</c:v>
                </c:pt>
                <c:pt idx="2">
                  <c:v>114.15489204436683</c:v>
                </c:pt>
                <c:pt idx="3">
                  <c:v>106.84115966360875</c:v>
                </c:pt>
                <c:pt idx="4">
                  <c:v>102.41472255451708</c:v>
                </c:pt>
                <c:pt idx="5">
                  <c:v>106.32436751381633</c:v>
                </c:pt>
                <c:pt idx="6">
                  <c:v>130.73717928553259</c:v>
                </c:pt>
                <c:pt idx="7">
                  <c:v>159.56519355438857</c:v>
                </c:pt>
                <c:pt idx="8">
                  <c:v>183.56232468388049</c:v>
                </c:pt>
                <c:pt idx="9">
                  <c:v>204.81821049708216</c:v>
                </c:pt>
                <c:pt idx="10">
                  <c:v>236.97166990373285</c:v>
                </c:pt>
                <c:pt idx="11">
                  <c:v>250.74530415689628</c:v>
                </c:pt>
                <c:pt idx="12">
                  <c:v>233.52264403446597</c:v>
                </c:pt>
                <c:pt idx="13">
                  <c:v>197.81904725098033</c:v>
                </c:pt>
                <c:pt idx="14">
                  <c:v>188.95493842084497</c:v>
                </c:pt>
                <c:pt idx="15">
                  <c:v>169.04720604188444</c:v>
                </c:pt>
                <c:pt idx="16">
                  <c:v>140.80339159453297</c:v>
                </c:pt>
                <c:pt idx="17">
                  <c:v>101.31373058322016</c:v>
                </c:pt>
                <c:pt idx="18">
                  <c:v>64.396795708917494</c:v>
                </c:pt>
                <c:pt idx="19">
                  <c:v>46.679812660598778</c:v>
                </c:pt>
                <c:pt idx="20">
                  <c:v>35.490139156397483</c:v>
                </c:pt>
                <c:pt idx="21">
                  <c:v>27.221464759718611</c:v>
                </c:pt>
                <c:pt idx="22">
                  <c:v>18.919086527183715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002747536698987</c:v>
                </c:pt>
                <c:pt idx="26">
                  <c:v>12.245727027690174</c:v>
                </c:pt>
                <c:pt idx="27">
                  <c:v>24.626269398804457</c:v>
                </c:pt>
                <c:pt idx="28">
                  <c:v>28.4123336266316</c:v>
                </c:pt>
                <c:pt idx="29">
                  <c:v>36.512488844030329</c:v>
                </c:pt>
                <c:pt idx="30">
                  <c:v>41.186087416066215</c:v>
                </c:pt>
                <c:pt idx="31">
                  <c:v>66.149395173430946</c:v>
                </c:pt>
                <c:pt idx="32">
                  <c:v>90.528503109291208</c:v>
                </c:pt>
                <c:pt idx="33">
                  <c:v>105.99856376720805</c:v>
                </c:pt>
                <c:pt idx="34">
                  <c:v>127.00728811746551</c:v>
                </c:pt>
                <c:pt idx="35">
                  <c:v>157.84629792573111</c:v>
                </c:pt>
                <c:pt idx="36">
                  <c:v>154.31862977280019</c:v>
                </c:pt>
                <c:pt idx="37">
                  <c:v>131.9392827643976</c:v>
                </c:pt>
                <c:pt idx="38">
                  <c:v>141.42129525189347</c:v>
                </c:pt>
                <c:pt idx="39">
                  <c:v>143.53340229887124</c:v>
                </c:pt>
                <c:pt idx="40">
                  <c:v>173.10290095655978</c:v>
                </c:pt>
                <c:pt idx="41">
                  <c:v>269.34982154942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L$2:$L$43</c:f>
              <c:numCache>
                <c:formatCode>General</c:formatCode>
                <c:ptCount val="42"/>
                <c:pt idx="0">
                  <c:v>794.00894817449955</c:v>
                </c:pt>
                <c:pt idx="1">
                  <c:v>546.98964230204695</c:v>
                </c:pt>
                <c:pt idx="2">
                  <c:v>697.4145422584952</c:v>
                </c:pt>
                <c:pt idx="3">
                  <c:v>580.24435526440425</c:v>
                </c:pt>
                <c:pt idx="4">
                  <c:v>665.62560176830789</c:v>
                </c:pt>
                <c:pt idx="5">
                  <c:v>623.70450906424537</c:v>
                </c:pt>
                <c:pt idx="6">
                  <c:v>666.24855506898018</c:v>
                </c:pt>
                <c:pt idx="7">
                  <c:v>679.91688337196558</c:v>
                </c:pt>
                <c:pt idx="8">
                  <c:v>611.55691970113628</c:v>
                </c:pt>
                <c:pt idx="9">
                  <c:v>520.78895936200786</c:v>
                </c:pt>
                <c:pt idx="10">
                  <c:v>430.47905292043254</c:v>
                </c:pt>
                <c:pt idx="11">
                  <c:v>349.55009030074535</c:v>
                </c:pt>
                <c:pt idx="12">
                  <c:v>271.71757202851734</c:v>
                </c:pt>
                <c:pt idx="13">
                  <c:v>215.57848634440558</c:v>
                </c:pt>
                <c:pt idx="14">
                  <c:v>179.04410747556787</c:v>
                </c:pt>
                <c:pt idx="15">
                  <c:v>152.36704848207353</c:v>
                </c:pt>
                <c:pt idx="16">
                  <c:v>125.61670086497065</c:v>
                </c:pt>
                <c:pt idx="17">
                  <c:v>90.914537586345446</c:v>
                </c:pt>
                <c:pt idx="18">
                  <c:v>68.506540918046284</c:v>
                </c:pt>
                <c:pt idx="19">
                  <c:v>44.834315492500465</c:v>
                </c:pt>
                <c:pt idx="20">
                  <c:v>34.409008784191201</c:v>
                </c:pt>
                <c:pt idx="21">
                  <c:v>26.273971563647599</c:v>
                </c:pt>
                <c:pt idx="22">
                  <c:v>18.358800213929491</c:v>
                </c:pt>
                <c:pt idx="23">
                  <c:v>9.5275210691051253</c:v>
                </c:pt>
                <c:pt idx="24">
                  <c:v>7.1273186459267199</c:v>
                </c:pt>
                <c:pt idx="25">
                  <c:v>4.1774515456845549</c:v>
                </c:pt>
                <c:pt idx="26">
                  <c:v>4.2873844810973063</c:v>
                </c:pt>
                <c:pt idx="27">
                  <c:v>3.9392635189569267</c:v>
                </c:pt>
                <c:pt idx="28">
                  <c:v>5.8264455768758268</c:v>
                </c:pt>
                <c:pt idx="29">
                  <c:v>7.6586611670883515</c:v>
                </c:pt>
                <c:pt idx="30">
                  <c:v>7.7319497906968531</c:v>
                </c:pt>
                <c:pt idx="31">
                  <c:v>10.388662396505012</c:v>
                </c:pt>
                <c:pt idx="32">
                  <c:v>12.40409954573879</c:v>
                </c:pt>
                <c:pt idx="33">
                  <c:v>14.987523527938448</c:v>
                </c:pt>
                <c:pt idx="34">
                  <c:v>31.349208748536288</c:v>
                </c:pt>
                <c:pt idx="35">
                  <c:v>56.249018619524492</c:v>
                </c:pt>
                <c:pt idx="36">
                  <c:v>90.236617817966817</c:v>
                </c:pt>
                <c:pt idx="37">
                  <c:v>120.17502056203945</c:v>
                </c:pt>
                <c:pt idx="38">
                  <c:v>159.51268928390235</c:v>
                </c:pt>
                <c:pt idx="39">
                  <c:v>200.48102988105441</c:v>
                </c:pt>
                <c:pt idx="40">
                  <c:v>246.15816454505264</c:v>
                </c:pt>
                <c:pt idx="41">
                  <c:v>410.25139280448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3</c:f>
              <c:numCache>
                <c:formatCode>General</c:formatCode>
                <c:ptCount val="42"/>
                <c:pt idx="0">
                  <c:v>394.18275103082203</c:v>
                </c:pt>
                <c:pt idx="1">
                  <c:v>503.37595975578273</c:v>
                </c:pt>
                <c:pt idx="2">
                  <c:v>501.08578410649369</c:v>
                </c:pt>
                <c:pt idx="3">
                  <c:v>376.61346994273339</c:v>
                </c:pt>
                <c:pt idx="4">
                  <c:v>235.29019546649167</c:v>
                </c:pt>
                <c:pt idx="5">
                  <c:v>139.93311250462523</c:v>
                </c:pt>
                <c:pt idx="6">
                  <c:v>97.617680696865804</c:v>
                </c:pt>
                <c:pt idx="7">
                  <c:v>77.434979610464779</c:v>
                </c:pt>
                <c:pt idx="8">
                  <c:v>70.441915589111559</c:v>
                </c:pt>
                <c:pt idx="9">
                  <c:v>69.180628815471721</c:v>
                </c:pt>
                <c:pt idx="10">
                  <c:v>75.666642877572741</c:v>
                </c:pt>
                <c:pt idx="11">
                  <c:v>92.528166730871874</c:v>
                </c:pt>
                <c:pt idx="12">
                  <c:v>102.64592612611676</c:v>
                </c:pt>
                <c:pt idx="13">
                  <c:v>124.21456376780712</c:v>
                </c:pt>
                <c:pt idx="14">
                  <c:v>123.51103194934468</c:v>
                </c:pt>
                <c:pt idx="15">
                  <c:v>119.26448854060753</c:v>
                </c:pt>
                <c:pt idx="16">
                  <c:v>104.75018345701339</c:v>
                </c:pt>
                <c:pt idx="17">
                  <c:v>84.715371942060926</c:v>
                </c:pt>
                <c:pt idx="18">
                  <c:v>71.390521554545884</c:v>
                </c:pt>
                <c:pt idx="19">
                  <c:v>67.913003917341229</c:v>
                </c:pt>
                <c:pt idx="20">
                  <c:v>64.048860686206766</c:v>
                </c:pt>
                <c:pt idx="21">
                  <c:v>58.902303599796959</c:v>
                </c:pt>
                <c:pt idx="22">
                  <c:v>49.504977688322896</c:v>
                </c:pt>
                <c:pt idx="23">
                  <c:v>51.892337913135329</c:v>
                </c:pt>
                <c:pt idx="24">
                  <c:v>75.628614130628833</c:v>
                </c:pt>
                <c:pt idx="25">
                  <c:v>189.95992910934518</c:v>
                </c:pt>
                <c:pt idx="26">
                  <c:v>305.43421920454256</c:v>
                </c:pt>
                <c:pt idx="27">
                  <c:v>387.70941321770232</c:v>
                </c:pt>
                <c:pt idx="28">
                  <c:v>388.32843670962268</c:v>
                </c:pt>
                <c:pt idx="29">
                  <c:v>314.70266991803999</c:v>
                </c:pt>
                <c:pt idx="30">
                  <c:v>235.66625751960373</c:v>
                </c:pt>
                <c:pt idx="31">
                  <c:v>174.44420035622795</c:v>
                </c:pt>
                <c:pt idx="32">
                  <c:v>134.88373999373877</c:v>
                </c:pt>
                <c:pt idx="33">
                  <c:v>95.559902945567302</c:v>
                </c:pt>
                <c:pt idx="34">
                  <c:v>62.722079959496853</c:v>
                </c:pt>
                <c:pt idx="35">
                  <c:v>44.218981863118735</c:v>
                </c:pt>
                <c:pt idx="36">
                  <c:v>35.706880672172467</c:v>
                </c:pt>
                <c:pt idx="37">
                  <c:v>29.658197199926462</c:v>
                </c:pt>
                <c:pt idx="38">
                  <c:v>24.095436605297142</c:v>
                </c:pt>
                <c:pt idx="39">
                  <c:v>22.690485676535843</c:v>
                </c:pt>
                <c:pt idx="40">
                  <c:v>23.263029588858117</c:v>
                </c:pt>
                <c:pt idx="41">
                  <c:v>15.77347914907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H$2:$H$43</c:f>
              <c:numCache>
                <c:formatCode>General</c:formatCode>
                <c:ptCount val="42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0. vs. 39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Česká republika</c:v>
                </c:pt>
                <c:pt idx="1">
                  <c:v>Maďarsko</c:v>
                </c:pt>
                <c:pt idx="2">
                  <c:v>Polsko</c:v>
                </c:pt>
                <c:pt idx="3">
                  <c:v>Slovinsko</c:v>
                </c:pt>
                <c:pt idx="4">
                  <c:v>Chorvatsko</c:v>
                </c:pt>
                <c:pt idx="5">
                  <c:v>Dánsko</c:v>
                </c:pt>
                <c:pt idx="6">
                  <c:v>Slovensko</c:v>
                </c:pt>
                <c:pt idx="7">
                  <c:v>Rakousko</c:v>
                </c:pt>
                <c:pt idx="8">
                  <c:v>Norsko</c:v>
                </c:pt>
                <c:pt idx="9">
                  <c:v>Nizozemsko</c:v>
                </c:pt>
                <c:pt idx="10">
                  <c:v>Bulharsko</c:v>
                </c:pt>
                <c:pt idx="11">
                  <c:v>Island</c:v>
                </c:pt>
                <c:pt idx="12">
                  <c:v>Německo</c:v>
                </c:pt>
                <c:pt idx="13">
                  <c:v>Řecko</c:v>
                </c:pt>
                <c:pt idx="14">
                  <c:v>Švédsko</c:v>
                </c:pt>
                <c:pt idx="15">
                  <c:v>Litva</c:v>
                </c:pt>
                <c:pt idx="16">
                  <c:v>Velká Británie</c:v>
                </c:pt>
                <c:pt idx="17">
                  <c:v>Lichtenštejnsko</c:v>
                </c:pt>
                <c:pt idx="18">
                  <c:v>Estonsko</c:v>
                </c:pt>
                <c:pt idx="19">
                  <c:v>Irsko</c:v>
                </c:pt>
                <c:pt idx="20">
                  <c:v>Lucembursko</c:v>
                </c:pt>
                <c:pt idx="21">
                  <c:v>Portugalsko</c:v>
                </c:pt>
                <c:pt idx="22">
                  <c:v>Lotyšsko</c:v>
                </c:pt>
                <c:pt idx="23">
                  <c:v>Francie</c:v>
                </c:pt>
                <c:pt idx="24">
                  <c:v>Rumunsko</c:v>
                </c:pt>
                <c:pt idx="25">
                  <c:v>Itálie</c:v>
                </c:pt>
                <c:pt idx="26">
                  <c:v>Belgie</c:v>
                </c:pt>
                <c:pt idx="27">
                  <c:v>Finsko</c:v>
                </c:pt>
                <c:pt idx="28">
                  <c:v>Kypr</c:v>
                </c:pt>
                <c:pt idx="29">
                  <c:v>Malta</c:v>
                </c:pt>
                <c:pt idx="30">
                  <c:v>Španěl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3279821627647714</c:v>
                </c:pt>
                <c:pt idx="1">
                  <c:v>1.2668694690265487</c:v>
                </c:pt>
                <c:pt idx="2">
                  <c:v>1.488855116514691</c:v>
                </c:pt>
                <c:pt idx="3">
                  <c:v>0.90621432066547059</c:v>
                </c:pt>
                <c:pt idx="4">
                  <c:v>1.0340522133938705</c:v>
                </c:pt>
                <c:pt idx="5">
                  <c:v>1.347609561752988</c:v>
                </c:pt>
                <c:pt idx="6">
                  <c:v>1.2568343671031472</c:v>
                </c:pt>
                <c:pt idx="7">
                  <c:v>1.0149348585954878</c:v>
                </c:pt>
                <c:pt idx="8">
                  <c:v>0.86465517241379308</c:v>
                </c:pt>
                <c:pt idx="9">
                  <c:v>1.3978345604157645</c:v>
                </c:pt>
                <c:pt idx="10">
                  <c:v>1.1253430924062213</c:v>
                </c:pt>
                <c:pt idx="11">
                  <c:v>1.2127659574468086</c:v>
                </c:pt>
                <c:pt idx="12">
                  <c:v>1.0254887711150895</c:v>
                </c:pt>
                <c:pt idx="13">
                  <c:v>1.0263846928499496</c:v>
                </c:pt>
                <c:pt idx="14">
                  <c:v>0.97641509433962259</c:v>
                </c:pt>
                <c:pt idx="15">
                  <c:v>1.2254456777665657</c:v>
                </c:pt>
                <c:pt idx="16">
                  <c:v>1.2395390145908225</c:v>
                </c:pt>
                <c:pt idx="17">
                  <c:v>2.1666666666666665</c:v>
                </c:pt>
                <c:pt idx="18">
                  <c:v>1.2987927565392354</c:v>
                </c:pt>
                <c:pt idx="19">
                  <c:v>1.1356355787799615</c:v>
                </c:pt>
                <c:pt idx="20">
                  <c:v>1.1683006535947713</c:v>
                </c:pt>
                <c:pt idx="21">
                  <c:v>1.0257583052479537</c:v>
                </c:pt>
                <c:pt idx="22">
                  <c:v>1.4055433989788475</c:v>
                </c:pt>
                <c:pt idx="23">
                  <c:v>0.87156950672645739</c:v>
                </c:pt>
                <c:pt idx="24">
                  <c:v>1.1973667023694454</c:v>
                </c:pt>
                <c:pt idx="25">
                  <c:v>0.85701257559758093</c:v>
                </c:pt>
                <c:pt idx="26">
                  <c:v>1.1156421638702883</c:v>
                </c:pt>
                <c:pt idx="27">
                  <c:v>1.0077942322681215</c:v>
                </c:pt>
                <c:pt idx="28">
                  <c:v>1.1764705882352942</c:v>
                </c:pt>
                <c:pt idx="29">
                  <c:v>1.1610169491525424</c:v>
                </c:pt>
                <c:pt idx="30">
                  <c:v>0.94169224024550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42. vs. 41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Česká republika</c:v>
                </c:pt>
                <c:pt idx="1">
                  <c:v>Maďarsko</c:v>
                </c:pt>
                <c:pt idx="2">
                  <c:v>Polsko</c:v>
                </c:pt>
                <c:pt idx="3">
                  <c:v>Slovinsko</c:v>
                </c:pt>
                <c:pt idx="4">
                  <c:v>Chorvatsko</c:v>
                </c:pt>
                <c:pt idx="5">
                  <c:v>Dánsko</c:v>
                </c:pt>
                <c:pt idx="6">
                  <c:v>Slovensko</c:v>
                </c:pt>
                <c:pt idx="7">
                  <c:v>Rakousko</c:v>
                </c:pt>
                <c:pt idx="8">
                  <c:v>Norsko</c:v>
                </c:pt>
                <c:pt idx="9">
                  <c:v>Nizozemsko</c:v>
                </c:pt>
                <c:pt idx="10">
                  <c:v>Bulharsko</c:v>
                </c:pt>
                <c:pt idx="11">
                  <c:v>Island</c:v>
                </c:pt>
                <c:pt idx="12">
                  <c:v>Německo</c:v>
                </c:pt>
                <c:pt idx="13">
                  <c:v>Řecko</c:v>
                </c:pt>
                <c:pt idx="14">
                  <c:v>Švédsko</c:v>
                </c:pt>
                <c:pt idx="15">
                  <c:v>Litva</c:v>
                </c:pt>
                <c:pt idx="16">
                  <c:v>Velká Británie</c:v>
                </c:pt>
                <c:pt idx="17">
                  <c:v>Lichtenštejnsko</c:v>
                </c:pt>
                <c:pt idx="18">
                  <c:v>Estonsko</c:v>
                </c:pt>
                <c:pt idx="19">
                  <c:v>Irsko</c:v>
                </c:pt>
                <c:pt idx="20">
                  <c:v>Lucembursko</c:v>
                </c:pt>
                <c:pt idx="21">
                  <c:v>Portugalsko</c:v>
                </c:pt>
                <c:pt idx="22">
                  <c:v>Lotyšsko</c:v>
                </c:pt>
                <c:pt idx="23">
                  <c:v>Francie</c:v>
                </c:pt>
                <c:pt idx="24">
                  <c:v>Rumunsko</c:v>
                </c:pt>
                <c:pt idx="25">
                  <c:v>Itálie</c:v>
                </c:pt>
                <c:pt idx="26">
                  <c:v>Belgie</c:v>
                </c:pt>
                <c:pt idx="27">
                  <c:v>Finsko</c:v>
                </c:pt>
                <c:pt idx="28">
                  <c:v>Kypr</c:v>
                </c:pt>
                <c:pt idx="29">
                  <c:v>Malta</c:v>
                </c:pt>
                <c:pt idx="30">
                  <c:v>Španěl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2.2364071109262915</c:v>
                </c:pt>
                <c:pt idx="1">
                  <c:v>2.0375072129255627</c:v>
                </c:pt>
                <c:pt idx="2">
                  <c:v>1.9503928170594838</c:v>
                </c:pt>
                <c:pt idx="3">
                  <c:v>1.767872775021885</c:v>
                </c:pt>
                <c:pt idx="4">
                  <c:v>1.7414992650661441</c:v>
                </c:pt>
                <c:pt idx="5">
                  <c:v>1.7296488427773344</c:v>
                </c:pt>
                <c:pt idx="6">
                  <c:v>1.6666170450316338</c:v>
                </c:pt>
                <c:pt idx="7">
                  <c:v>1.5560098650051921</c:v>
                </c:pt>
                <c:pt idx="8">
                  <c:v>1.5282885431400284</c:v>
                </c:pt>
                <c:pt idx="9">
                  <c:v>1.4824129141886151</c:v>
                </c:pt>
                <c:pt idx="10">
                  <c:v>1.4683661884611414</c:v>
                </c:pt>
                <c:pt idx="11">
                  <c:v>1.4075067024128687</c:v>
                </c:pt>
                <c:pt idx="12">
                  <c:v>1.4064728300958937</c:v>
                </c:pt>
                <c:pt idx="13">
                  <c:v>1.2895312679949327</c:v>
                </c:pt>
                <c:pt idx="14">
                  <c:v>1.276319018404908</c:v>
                </c:pt>
                <c:pt idx="15">
                  <c:v>1.2726096599310004</c:v>
                </c:pt>
                <c:pt idx="16">
                  <c:v>1.2706111293833888</c:v>
                </c:pt>
                <c:pt idx="17">
                  <c:v>1.25</c:v>
                </c:pt>
                <c:pt idx="18">
                  <c:v>1.2486560820102512</c:v>
                </c:pt>
                <c:pt idx="19">
                  <c:v>1.2311537200917733</c:v>
                </c:pt>
                <c:pt idx="20">
                  <c:v>1.2024242424242424</c:v>
                </c:pt>
                <c:pt idx="21">
                  <c:v>1.1870471014492754</c:v>
                </c:pt>
                <c:pt idx="22">
                  <c:v>1.1824965132496512</c:v>
                </c:pt>
                <c:pt idx="23">
                  <c:v>1.0912431108389467</c:v>
                </c:pt>
                <c:pt idx="24">
                  <c:v>1.0241436174940011</c:v>
                </c:pt>
                <c:pt idx="25">
                  <c:v>0.99312133513757328</c:v>
                </c:pt>
                <c:pt idx="26">
                  <c:v>0.9839588643754944</c:v>
                </c:pt>
                <c:pt idx="27">
                  <c:v>0.98259923871669386</c:v>
                </c:pt>
                <c:pt idx="28">
                  <c:v>0.9652466367713004</c:v>
                </c:pt>
                <c:pt idx="29">
                  <c:v>0.79629629629629628</c:v>
                </c:pt>
                <c:pt idx="30">
                  <c:v>0.67804922350376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0</c:f>
              <c:strCache>
                <c:ptCount val="29"/>
                <c:pt idx="0">
                  <c:v>Kypr</c:v>
                </c:pt>
                <c:pt idx="1">
                  <c:v>Dánsko</c:v>
                </c:pt>
                <c:pt idx="2">
                  <c:v>Rakousko</c:v>
                </c:pt>
                <c:pt idx="3">
                  <c:v>Řecko</c:v>
                </c:pt>
                <c:pt idx="4">
                  <c:v>Lucembursko</c:v>
                </c:pt>
                <c:pt idx="5">
                  <c:v>Slovin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Malta</c:v>
                </c:pt>
                <c:pt idx="9">
                  <c:v>Lotyšsko</c:v>
                </c:pt>
                <c:pt idx="10">
                  <c:v>Francie</c:v>
                </c:pt>
                <c:pt idx="11">
                  <c:v>Norsko</c:v>
                </c:pt>
                <c:pt idx="12">
                  <c:v>Litva</c:v>
                </c:pt>
                <c:pt idx="13">
                  <c:v>Portugalsko</c:v>
                </c:pt>
                <c:pt idx="14">
                  <c:v>Belgie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Irsko</c:v>
                </c:pt>
                <c:pt idx="19">
                  <c:v>Estonsko</c:v>
                </c:pt>
                <c:pt idx="20">
                  <c:v>Finsko</c:v>
                </c:pt>
                <c:pt idx="21">
                  <c:v>Švédsko</c:v>
                </c:pt>
                <c:pt idx="22">
                  <c:v>Španělsko</c:v>
                </c:pt>
                <c:pt idx="23">
                  <c:v>Chorvatsko</c:v>
                </c:pt>
                <c:pt idx="24">
                  <c:v>Německo</c:v>
                </c:pt>
                <c:pt idx="25">
                  <c:v>Bulharsko</c:v>
                </c:pt>
                <c:pt idx="26">
                  <c:v>Maďarsko</c:v>
                </c:pt>
                <c:pt idx="27">
                  <c:v>Rumunsko</c:v>
                </c:pt>
                <c:pt idx="28">
                  <c:v>Polsko</c:v>
                </c:pt>
              </c:strCache>
            </c:strRef>
          </c:cat>
          <c:val>
            <c:numRef>
              <c:f>List1!$B$2:$B$30</c:f>
              <c:numCache>
                <c:formatCode>0</c:formatCode>
                <c:ptCount val="29"/>
                <c:pt idx="0" formatCode="General">
                  <c:v>1536052.4997043936</c:v>
                </c:pt>
                <c:pt idx="1">
                  <c:v>1431699.7961277144</c:v>
                </c:pt>
                <c:pt idx="2" formatCode="General">
                  <c:v>1407457.5803521916</c:v>
                </c:pt>
                <c:pt idx="3">
                  <c:v>602604.71434375772</c:v>
                </c:pt>
                <c:pt idx="4" formatCode="General">
                  <c:v>571342.48404428631</c:v>
                </c:pt>
                <c:pt idx="5" formatCode="General">
                  <c:v>399222.80151212314</c:v>
                </c:pt>
                <c:pt idx="6" formatCode="General">
                  <c:v>373513.548188371</c:v>
                </c:pt>
                <c:pt idx="7" formatCode="General">
                  <c:v>302646.00394360319</c:v>
                </c:pt>
                <c:pt idx="8" formatCode="General">
                  <c:v>249486.36126895779</c:v>
                </c:pt>
                <c:pt idx="9" formatCode="General">
                  <c:v>248880.96767006957</c:v>
                </c:pt>
                <c:pt idx="10">
                  <c:v>211835.93053236787</c:v>
                </c:pt>
                <c:pt idx="11" formatCode="General">
                  <c:v>204327.53680429544</c:v>
                </c:pt>
                <c:pt idx="12" formatCode="General">
                  <c:v>197615.93219975018</c:v>
                </c:pt>
                <c:pt idx="13" formatCode="General">
                  <c:v>190573.37239480263</c:v>
                </c:pt>
                <c:pt idx="14" formatCode="General">
                  <c:v>185141.18537393119</c:v>
                </c:pt>
                <c:pt idx="15" formatCode="General">
                  <c:v>168900.85304377382</c:v>
                </c:pt>
                <c:pt idx="16" formatCode="General">
                  <c:v>164172.63648311349</c:v>
                </c:pt>
                <c:pt idx="17" formatCode="General">
                  <c:v>160364.34117656181</c:v>
                </c:pt>
                <c:pt idx="18" formatCode="General">
                  <c:v>159912.88040544352</c:v>
                </c:pt>
                <c:pt idx="19" formatCode="General">
                  <c:v>150010.45918060219</c:v>
                </c:pt>
                <c:pt idx="20" formatCode="General">
                  <c:v>134071.59295834502</c:v>
                </c:pt>
                <c:pt idx="21">
                  <c:v>124780.63369872679</c:v>
                </c:pt>
                <c:pt idx="22" formatCode="General">
                  <c:v>123985.02013854549</c:v>
                </c:pt>
                <c:pt idx="23" formatCode="General">
                  <c:v>107655.0854881455</c:v>
                </c:pt>
                <c:pt idx="24" formatCode="General">
                  <c:v>93680.678318516162</c:v>
                </c:pt>
                <c:pt idx="25" formatCode="General">
                  <c:v>74147.570259118846</c:v>
                </c:pt>
                <c:pt idx="26" formatCode="General">
                  <c:v>71548.783431253469</c:v>
                </c:pt>
                <c:pt idx="27" formatCode="General">
                  <c:v>71058.643049313148</c:v>
                </c:pt>
                <c:pt idx="28">
                  <c:v>58990.543740580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Lotyšsko</c:v>
                </c:pt>
                <c:pt idx="4">
                  <c:v>Chorvatsko</c:v>
                </c:pt>
                <c:pt idx="5">
                  <c:v>Litva</c:v>
                </c:pt>
                <c:pt idx="6">
                  <c:v>Maďarsko</c:v>
                </c:pt>
                <c:pt idx="7">
                  <c:v>Německo</c:v>
                </c:pt>
                <c:pt idx="8">
                  <c:v>Polsko</c:v>
                </c:pt>
                <c:pt idx="9">
                  <c:v>Irsko</c:v>
                </c:pt>
                <c:pt idx="10">
                  <c:v>Slovensko</c:v>
                </c:pt>
                <c:pt idx="11">
                  <c:v>Belgie</c:v>
                </c:pt>
                <c:pt idx="12">
                  <c:v>Lucembursko</c:v>
                </c:pt>
                <c:pt idx="13">
                  <c:v>Slovinsko</c:v>
                </c:pt>
                <c:pt idx="14">
                  <c:v>Finsko</c:v>
                </c:pt>
                <c:pt idx="15">
                  <c:v>Nizozemsko</c:v>
                </c:pt>
                <c:pt idx="16">
                  <c:v>Norsko</c:v>
                </c:pt>
                <c:pt idx="17">
                  <c:v>Lichtenštejnsko</c:v>
                </c:pt>
                <c:pt idx="18">
                  <c:v>Česká republika</c:v>
                </c:pt>
                <c:pt idx="19">
                  <c:v>Island</c:v>
                </c:pt>
                <c:pt idx="20">
                  <c:v>Španělsko</c:v>
                </c:pt>
                <c:pt idx="21">
                  <c:v>Portugalsko</c:v>
                </c:pt>
                <c:pt idx="22">
                  <c:v>Dánsko</c:v>
                </c:pt>
                <c:pt idx="23">
                  <c:v>Francie</c:v>
                </c:pt>
                <c:pt idx="24">
                  <c:v>Řecko</c:v>
                </c:pt>
                <c:pt idx="25">
                  <c:v>Malta</c:v>
                </c:pt>
                <c:pt idx="26">
                  <c:v>Itálie</c:v>
                </c:pt>
                <c:pt idx="27">
                  <c:v>Rakousko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4165769708230128</c:v>
                </c:pt>
                <c:pt idx="1">
                  <c:v>0.16845072532988697</c:v>
                </c:pt>
                <c:pt idx="2">
                  <c:v>0.15695282096379376</c:v>
                </c:pt>
                <c:pt idx="3">
                  <c:v>0.12561156218769692</c:v>
                </c:pt>
                <c:pt idx="4">
                  <c:v>0.1238846748232085</c:v>
                </c:pt>
                <c:pt idx="5">
                  <c:v>0.11937878630973955</c:v>
                </c:pt>
                <c:pt idx="6">
                  <c:v>9.6368779005373148E-2</c:v>
                </c:pt>
                <c:pt idx="7">
                  <c:v>9.4191369791080837E-2</c:v>
                </c:pt>
                <c:pt idx="8">
                  <c:v>9.0922454090005891E-2</c:v>
                </c:pt>
                <c:pt idx="9">
                  <c:v>8.7796966492119585E-2</c:v>
                </c:pt>
                <c:pt idx="10">
                  <c:v>6.9616145442674429E-2</c:v>
                </c:pt>
                <c:pt idx="11">
                  <c:v>5.4994292619876303E-2</c:v>
                </c:pt>
                <c:pt idx="12">
                  <c:v>5.4700906162507147E-2</c:v>
                </c:pt>
                <c:pt idx="13">
                  <c:v>5.0575576776450137E-2</c:v>
                </c:pt>
                <c:pt idx="14">
                  <c:v>4.6836361767860699E-2</c:v>
                </c:pt>
                <c:pt idx="15">
                  <c:v>4.4882789067942477E-2</c:v>
                </c:pt>
                <c:pt idx="16">
                  <c:v>4.4806798099941092E-2</c:v>
                </c:pt>
                <c:pt idx="17">
                  <c:v>3.7815126050420166E-2</c:v>
                </c:pt>
                <c:pt idx="18">
                  <c:v>2.9292569072444322E-2</c:v>
                </c:pt>
                <c:pt idx="19">
                  <c:v>2.4693394929329593E-2</c:v>
                </c:pt>
                <c:pt idx="20">
                  <c:v>1.7835200316606899E-2</c:v>
                </c:pt>
                <c:pt idx="21">
                  <c:v>1.579054071729406E-2</c:v>
                </c:pt>
                <c:pt idx="22">
                  <c:v>1.4167204283816291E-2</c:v>
                </c:pt>
                <c:pt idx="23">
                  <c:v>1.3969697006885036E-2</c:v>
                </c:pt>
                <c:pt idx="24">
                  <c:v>6.816095035839357E-3</c:v>
                </c:pt>
                <c:pt idx="25">
                  <c:v>6.5432223683766734E-3</c:v>
                </c:pt>
                <c:pt idx="26">
                  <c:v>6.1823202081596829E-3</c:v>
                </c:pt>
                <c:pt idx="27">
                  <c:v>5.4057311209133423E-3</c:v>
                </c:pt>
                <c:pt idx="28">
                  <c:v>2.47029794357912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1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Chorvatsko</c:v>
                </c:pt>
                <c:pt idx="4">
                  <c:v>Lotyšsko</c:v>
                </c:pt>
                <c:pt idx="5">
                  <c:v>Litva</c:v>
                </c:pt>
                <c:pt idx="6">
                  <c:v>Maďarsko</c:v>
                </c:pt>
                <c:pt idx="7">
                  <c:v>Polsko</c:v>
                </c:pt>
                <c:pt idx="8">
                  <c:v>Německo</c:v>
                </c:pt>
                <c:pt idx="9">
                  <c:v>Irsko</c:v>
                </c:pt>
                <c:pt idx="10">
                  <c:v>Slovensko</c:v>
                </c:pt>
                <c:pt idx="11">
                  <c:v>Slovinsko</c:v>
                </c:pt>
                <c:pt idx="12">
                  <c:v>Lucembursko</c:v>
                </c:pt>
                <c:pt idx="13">
                  <c:v>Nizozemsko</c:v>
                </c:pt>
                <c:pt idx="14">
                  <c:v>Norsko</c:v>
                </c:pt>
                <c:pt idx="15">
                  <c:v>Finsko</c:v>
                </c:pt>
                <c:pt idx="16">
                  <c:v>Belgie</c:v>
                </c:pt>
                <c:pt idx="17">
                  <c:v>Lichtenštejnsko</c:v>
                </c:pt>
                <c:pt idx="18">
                  <c:v>Česká republika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Dánsko</c:v>
                </c:pt>
                <c:pt idx="23">
                  <c:v>Španělsko</c:v>
                </c:pt>
                <c:pt idx="24">
                  <c:v>Řecko</c:v>
                </c:pt>
                <c:pt idx="25">
                  <c:v>Rakousko</c:v>
                </c:pt>
                <c:pt idx="26">
                  <c:v>Malta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3968029688746251</c:v>
                </c:pt>
                <c:pt idx="1">
                  <c:v>0.16283283120267078</c:v>
                </c:pt>
                <c:pt idx="2">
                  <c:v>0.15946083836671548</c:v>
                </c:pt>
                <c:pt idx="3">
                  <c:v>9.5358681331003489E-2</c:v>
                </c:pt>
                <c:pt idx="4">
                  <c:v>0.11331579072138065</c:v>
                </c:pt>
                <c:pt idx="5">
                  <c:v>0.10543477554838165</c:v>
                </c:pt>
                <c:pt idx="6">
                  <c:v>6.8871645587227151E-2</c:v>
                </c:pt>
                <c:pt idx="7">
                  <c:v>6.6678390888034927E-2</c:v>
                </c:pt>
                <c:pt idx="8">
                  <c:v>7.8163719551380226E-2</c:v>
                </c:pt>
                <c:pt idx="9">
                  <c:v>8.0418566646458786E-2</c:v>
                </c:pt>
                <c:pt idx="10">
                  <c:v>5.4961463566297393E-2</c:v>
                </c:pt>
                <c:pt idx="11">
                  <c:v>3.835607239191019E-2</c:v>
                </c:pt>
                <c:pt idx="12">
                  <c:v>5.0057642133365693E-2</c:v>
                </c:pt>
                <c:pt idx="13">
                  <c:v>3.6955634399824168E-2</c:v>
                </c:pt>
                <c:pt idx="14">
                  <c:v>3.7204651897068883E-2</c:v>
                </c:pt>
                <c:pt idx="15">
                  <c:v>4.5147114782672741E-2</c:v>
                </c:pt>
                <c:pt idx="16">
                  <c:v>6.4666295315288683E-2</c:v>
                </c:pt>
                <c:pt idx="17">
                  <c:v>3.7974683544303799E-2</c:v>
                </c:pt>
                <c:pt idx="18">
                  <c:v>1.9747849991069429E-2</c:v>
                </c:pt>
                <c:pt idx="19">
                  <c:v>2.1532067193904058E-2</c:v>
                </c:pt>
                <c:pt idx="20">
                  <c:v>1.2515481389739912E-2</c:v>
                </c:pt>
                <c:pt idx="21">
                  <c:v>1.1507629882770865E-2</c:v>
                </c:pt>
                <c:pt idx="22">
                  <c:v>1.0761669390007451E-2</c:v>
                </c:pt>
                <c:pt idx="23">
                  <c:v>2.0637860005173054E-2</c:v>
                </c:pt>
                <c:pt idx="24">
                  <c:v>6.7906629362207141E-3</c:v>
                </c:pt>
                <c:pt idx="25">
                  <c:v>4.2865047709899776E-3</c:v>
                </c:pt>
                <c:pt idx="26">
                  <c:v>7.5731014655353764E-3</c:v>
                </c:pt>
                <c:pt idx="27">
                  <c:v>7.4108460924876603E-3</c:v>
                </c:pt>
                <c:pt idx="28">
                  <c:v>2.4994816097558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42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Rumunsko</c:v>
                </c:pt>
                <c:pt idx="1">
                  <c:v>Estonsko</c:v>
                </c:pt>
                <c:pt idx="2">
                  <c:v>Bulharsko</c:v>
                </c:pt>
                <c:pt idx="3">
                  <c:v>Chorvatsko</c:v>
                </c:pt>
                <c:pt idx="4">
                  <c:v>Lotyšsko</c:v>
                </c:pt>
                <c:pt idx="5">
                  <c:v>Litva</c:v>
                </c:pt>
                <c:pt idx="6">
                  <c:v>Maďarsko</c:v>
                </c:pt>
                <c:pt idx="7">
                  <c:v>Polsko</c:v>
                </c:pt>
                <c:pt idx="8">
                  <c:v>Německo</c:v>
                </c:pt>
                <c:pt idx="9">
                  <c:v>Irsko</c:v>
                </c:pt>
                <c:pt idx="10">
                  <c:v>Slovensko</c:v>
                </c:pt>
                <c:pt idx="11">
                  <c:v>Slovinsko</c:v>
                </c:pt>
                <c:pt idx="12">
                  <c:v>Lucembursko</c:v>
                </c:pt>
                <c:pt idx="13">
                  <c:v>Nizozemsko</c:v>
                </c:pt>
                <c:pt idx="14">
                  <c:v>Norsko</c:v>
                </c:pt>
                <c:pt idx="15">
                  <c:v>Finsko</c:v>
                </c:pt>
                <c:pt idx="16">
                  <c:v>Belgie</c:v>
                </c:pt>
                <c:pt idx="17">
                  <c:v>Lichtenštejnsko</c:v>
                </c:pt>
                <c:pt idx="18">
                  <c:v>Česká republika</c:v>
                </c:pt>
                <c:pt idx="19">
                  <c:v>Island</c:v>
                </c:pt>
                <c:pt idx="20">
                  <c:v>Portugalsko</c:v>
                </c:pt>
                <c:pt idx="21">
                  <c:v>Francie</c:v>
                </c:pt>
                <c:pt idx="22">
                  <c:v>Dánsko</c:v>
                </c:pt>
                <c:pt idx="23">
                  <c:v>Španělsko</c:v>
                </c:pt>
                <c:pt idx="24">
                  <c:v>Řecko</c:v>
                </c:pt>
                <c:pt idx="25">
                  <c:v>Rakousko</c:v>
                </c:pt>
                <c:pt idx="26">
                  <c:v>Malta</c:v>
                </c:pt>
                <c:pt idx="27">
                  <c:v>Itálie</c:v>
                </c:pt>
                <c:pt idx="28">
                  <c:v>Kypr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4362021986282062</c:v>
                </c:pt>
                <c:pt idx="1">
                  <c:v>0.17323736015956986</c:v>
                </c:pt>
                <c:pt idx="2">
                  <c:v>0.15528946908836885</c:v>
                </c:pt>
                <c:pt idx="3">
                  <c:v>0.14957833251973673</c:v>
                </c:pt>
                <c:pt idx="4">
                  <c:v>0.13830255774500849</c:v>
                </c:pt>
                <c:pt idx="5">
                  <c:v>0.13322369481796781</c:v>
                </c:pt>
                <c:pt idx="6">
                  <c:v>0.11985438252590311</c:v>
                </c:pt>
                <c:pt idx="7">
                  <c:v>0.11175634569997235</c:v>
                </c:pt>
                <c:pt idx="8">
                  <c:v>0.11026746987951808</c:v>
                </c:pt>
                <c:pt idx="9">
                  <c:v>9.486677610809445E-2</c:v>
                </c:pt>
                <c:pt idx="10">
                  <c:v>8.2874993522788681E-2</c:v>
                </c:pt>
                <c:pt idx="11">
                  <c:v>6.1693006394851535E-2</c:v>
                </c:pt>
                <c:pt idx="12">
                  <c:v>5.9273422562141492E-2</c:v>
                </c:pt>
                <c:pt idx="13">
                  <c:v>5.2476055994911196E-2</c:v>
                </c:pt>
                <c:pt idx="14">
                  <c:v>5.1722074627222898E-2</c:v>
                </c:pt>
                <c:pt idx="15">
                  <c:v>4.8690450528131063E-2</c:v>
                </c:pt>
                <c:pt idx="16">
                  <c:v>4.7737841658510999E-2</c:v>
                </c:pt>
                <c:pt idx="17">
                  <c:v>3.7688442211055273E-2</c:v>
                </c:pt>
                <c:pt idx="18">
                  <c:v>3.736863133392395E-2</c:v>
                </c:pt>
                <c:pt idx="19">
                  <c:v>2.7569185527490415E-2</c:v>
                </c:pt>
                <c:pt idx="20">
                  <c:v>2.0255884137270131E-2</c:v>
                </c:pt>
                <c:pt idx="21">
                  <c:v>1.7376575849192385E-2</c:v>
                </c:pt>
                <c:pt idx="22">
                  <c:v>1.7339595242762334E-2</c:v>
                </c:pt>
                <c:pt idx="23">
                  <c:v>1.4859160395740083E-2</c:v>
                </c:pt>
                <c:pt idx="24">
                  <c:v>6.8359485298314943E-3</c:v>
                </c:pt>
                <c:pt idx="25">
                  <c:v>6.4957426130740131E-3</c:v>
                </c:pt>
                <c:pt idx="26">
                  <c:v>5.5887704704964906E-3</c:v>
                </c:pt>
                <c:pt idx="27">
                  <c:v>5.2979710160620504E-3</c:v>
                </c:pt>
                <c:pt idx="28">
                  <c:v>2.440773677063814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H$2:$H$43</c:f>
              <c:numCache>
                <c:formatCode>0.0%</c:formatCode>
                <c:ptCount val="42"/>
                <c:pt idx="0">
                  <c:v>4.8301984525235521E-2</c:v>
                </c:pt>
                <c:pt idx="1">
                  <c:v>4.6174632113556456E-2</c:v>
                </c:pt>
                <c:pt idx="2">
                  <c:v>4.9433362391672224E-2</c:v>
                </c:pt>
                <c:pt idx="3">
                  <c:v>4.7978457960280455E-2</c:v>
                </c:pt>
                <c:pt idx="4">
                  <c:v>4.4145553721380897E-2</c:v>
                </c:pt>
                <c:pt idx="5">
                  <c:v>4.3175459565574482E-2</c:v>
                </c:pt>
                <c:pt idx="6">
                  <c:v>5.8835683855407203E-2</c:v>
                </c:pt>
                <c:pt idx="7">
                  <c:v>5.8803536189059182E-2</c:v>
                </c:pt>
                <c:pt idx="8">
                  <c:v>5.3987567440011118E-2</c:v>
                </c:pt>
                <c:pt idx="9">
                  <c:v>6.3378086719241597E-2</c:v>
                </c:pt>
                <c:pt idx="10">
                  <c:v>7.1123909065146276E-2</c:v>
                </c:pt>
                <c:pt idx="11">
                  <c:v>7.1208144007044186E-2</c:v>
                </c:pt>
                <c:pt idx="12">
                  <c:v>7.2776760766933235E-2</c:v>
                </c:pt>
                <c:pt idx="13">
                  <c:v>8.5721802269498576E-2</c:v>
                </c:pt>
                <c:pt idx="14">
                  <c:v>8.7193923019252259E-2</c:v>
                </c:pt>
                <c:pt idx="15">
                  <c:v>7.9295338118867534E-2</c:v>
                </c:pt>
                <c:pt idx="16">
                  <c:v>6.3285537529690503E-2</c:v>
                </c:pt>
                <c:pt idx="17">
                  <c:v>5.7258197174438891E-2</c:v>
                </c:pt>
                <c:pt idx="18">
                  <c:v>5.0552676268308144E-2</c:v>
                </c:pt>
                <c:pt idx="19">
                  <c:v>4.8508132361189005E-2</c:v>
                </c:pt>
                <c:pt idx="20">
                  <c:v>3.9662233809695212E-2</c:v>
                </c:pt>
                <c:pt idx="21">
                  <c:v>2.9208934045272406E-2</c:v>
                </c:pt>
                <c:pt idx="22">
                  <c:v>1.8953910634572049E-2</c:v>
                </c:pt>
                <c:pt idx="23">
                  <c:v>1.1057291894972164E-2</c:v>
                </c:pt>
                <c:pt idx="24">
                  <c:v>8.3329092235397903E-3</c:v>
                </c:pt>
                <c:pt idx="25">
                  <c:v>9.0244457153203592E-3</c:v>
                </c:pt>
                <c:pt idx="26">
                  <c:v>1.7586498364509505E-2</c:v>
                </c:pt>
                <c:pt idx="27">
                  <c:v>1.8972377602214405E-2</c:v>
                </c:pt>
                <c:pt idx="28">
                  <c:v>2.4618258185938248E-2</c:v>
                </c:pt>
                <c:pt idx="29">
                  <c:v>2.9391529151768497E-2</c:v>
                </c:pt>
                <c:pt idx="30">
                  <c:v>3.4759723059083002E-2</c:v>
                </c:pt>
                <c:pt idx="31">
                  <c:v>3.7919894436292075E-2</c:v>
                </c:pt>
                <c:pt idx="32">
                  <c:v>4.5085203725337912E-2</c:v>
                </c:pt>
                <c:pt idx="33">
                  <c:v>4.9207434487762679E-2</c:v>
                </c:pt>
                <c:pt idx="34">
                  <c:v>4.8733634359515998E-2</c:v>
                </c:pt>
                <c:pt idx="35">
                  <c:v>4.5932543994864058E-2</c:v>
                </c:pt>
                <c:pt idx="36">
                  <c:v>4.3708244744395081E-2</c:v>
                </c:pt>
                <c:pt idx="37">
                  <c:v>4.0957643611949188E-2</c:v>
                </c:pt>
                <c:pt idx="38">
                  <c:v>4.2800052811742241E-2</c:v>
                </c:pt>
                <c:pt idx="39">
                  <c:v>4.7408942091262535E-2</c:v>
                </c:pt>
                <c:pt idx="40">
                  <c:v>6.4666295315288683E-2</c:v>
                </c:pt>
                <c:pt idx="41">
                  <c:v>4.7737841658510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C$2:$C$43</c:f>
              <c:numCache>
                <c:formatCode>0.0%</c:formatCode>
                <c:ptCount val="42"/>
                <c:pt idx="0">
                  <c:v>0.20381455896884479</c:v>
                </c:pt>
                <c:pt idx="1">
                  <c:v>0.15121607426145864</c:v>
                </c:pt>
                <c:pt idx="2">
                  <c:v>0.14584929138673844</c:v>
                </c:pt>
                <c:pt idx="3">
                  <c:v>0.13093382848679774</c:v>
                </c:pt>
                <c:pt idx="4">
                  <c:v>0.12606235147218753</c:v>
                </c:pt>
                <c:pt idx="5">
                  <c:v>0.12895645131745129</c:v>
                </c:pt>
                <c:pt idx="6">
                  <c:v>0.13558275561043726</c:v>
                </c:pt>
                <c:pt idx="7">
                  <c:v>0.13954580021670221</c:v>
                </c:pt>
                <c:pt idx="8">
                  <c:v>0.11580954190186712</c:v>
                </c:pt>
                <c:pt idx="9">
                  <c:v>6.5009325073581314E-2</c:v>
                </c:pt>
                <c:pt idx="10">
                  <c:v>5.1069870317082162E-2</c:v>
                </c:pt>
                <c:pt idx="11">
                  <c:v>3.8211520331360216E-2</c:v>
                </c:pt>
                <c:pt idx="12">
                  <c:v>3.0646181249917227E-2</c:v>
                </c:pt>
                <c:pt idx="13">
                  <c:v>2.0950875076915541E-2</c:v>
                </c:pt>
                <c:pt idx="14">
                  <c:v>1.5984850904882077E-2</c:v>
                </c:pt>
                <c:pt idx="15">
                  <c:v>1.2918838531518774E-2</c:v>
                </c:pt>
                <c:pt idx="16">
                  <c:v>1.0482856662192602E-2</c:v>
                </c:pt>
                <c:pt idx="17">
                  <c:v>7.4920533066334576E-3</c:v>
                </c:pt>
                <c:pt idx="18">
                  <c:v>5.268409223513815E-3</c:v>
                </c:pt>
                <c:pt idx="19">
                  <c:v>3.121000670840088E-3</c:v>
                </c:pt>
                <c:pt idx="20">
                  <c:v>2.2639770269791185E-3</c:v>
                </c:pt>
                <c:pt idx="21">
                  <c:v>1.8111450684720964E-3</c:v>
                </c:pt>
                <c:pt idx="22">
                  <c:v>1.2673056633785383E-3</c:v>
                </c:pt>
                <c:pt idx="23">
                  <c:v>8.6870537759354649E-4</c:v>
                </c:pt>
                <c:pt idx="24">
                  <c:v>7.3833273767358841E-4</c:v>
                </c:pt>
                <c:pt idx="25">
                  <c:v>1.1415163141706567E-3</c:v>
                </c:pt>
                <c:pt idx="26">
                  <c:v>2.5243043292376898E-3</c:v>
                </c:pt>
                <c:pt idx="27">
                  <c:v>2.213922500313421E-3</c:v>
                </c:pt>
                <c:pt idx="28">
                  <c:v>1.8548227467710167E-3</c:v>
                </c:pt>
                <c:pt idx="29">
                  <c:v>1.5585461161481003E-3</c:v>
                </c:pt>
                <c:pt idx="30">
                  <c:v>1.6329598250888222E-3</c:v>
                </c:pt>
                <c:pt idx="31">
                  <c:v>1.7125247218830232E-3</c:v>
                </c:pt>
                <c:pt idx="32">
                  <c:v>1.9260560663346767E-3</c:v>
                </c:pt>
                <c:pt idx="33">
                  <c:v>2.3238294440357703E-3</c:v>
                </c:pt>
                <c:pt idx="34">
                  <c:v>3.1144604272989847E-3</c:v>
                </c:pt>
                <c:pt idx="35">
                  <c:v>4.9392465086436814E-3</c:v>
                </c:pt>
                <c:pt idx="36">
                  <c:v>6.0227265986621875E-3</c:v>
                </c:pt>
                <c:pt idx="37">
                  <c:v>6.3167821431076542E-3</c:v>
                </c:pt>
                <c:pt idx="38">
                  <c:v>9.8193115316155561E-3</c:v>
                </c:pt>
                <c:pt idx="39">
                  <c:v>1.3415411505810116E-2</c:v>
                </c:pt>
                <c:pt idx="40">
                  <c:v>1.9747849991069429E-2</c:v>
                </c:pt>
                <c:pt idx="41">
                  <c:v>3.7368631333923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D$2:$D$43</c:f>
              <c:numCache>
                <c:formatCode>0.0%</c:formatCode>
                <c:ptCount val="42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08408543633295E-2</c:v>
                </c:pt>
                <c:pt idx="40">
                  <c:v>1.1507629882770865E-2</c:v>
                </c:pt>
                <c:pt idx="41">
                  <c:v>1.73765758491923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F$2:$F$43</c:f>
              <c:numCache>
                <c:formatCode>0.0%</c:formatCode>
                <c:ptCount val="42"/>
                <c:pt idx="0">
                  <c:v>0.12645449138650977</c:v>
                </c:pt>
                <c:pt idx="1">
                  <c:v>7.1470441321707073E-2</c:v>
                </c:pt>
                <c:pt idx="2">
                  <c:v>5.622804625936053E-2</c:v>
                </c:pt>
                <c:pt idx="3">
                  <c:v>4.7676706348679598E-2</c:v>
                </c:pt>
                <c:pt idx="4">
                  <c:v>4.9124410377358492E-2</c:v>
                </c:pt>
                <c:pt idx="5">
                  <c:v>4.6122196964872596E-2</c:v>
                </c:pt>
                <c:pt idx="6">
                  <c:v>4.7496823353036829E-2</c:v>
                </c:pt>
                <c:pt idx="7">
                  <c:v>5.8577649970008888E-2</c:v>
                </c:pt>
                <c:pt idx="8">
                  <c:v>6.4523850679515174E-2</c:v>
                </c:pt>
                <c:pt idx="9">
                  <c:v>6.8398949509725887E-2</c:v>
                </c:pt>
                <c:pt idx="10">
                  <c:v>6.5843652250684531E-2</c:v>
                </c:pt>
                <c:pt idx="11">
                  <c:v>6.5579665726778633E-2</c:v>
                </c:pt>
                <c:pt idx="12">
                  <c:v>6.2388513112614216E-2</c:v>
                </c:pt>
                <c:pt idx="13">
                  <c:v>5.4314077407925175E-2</c:v>
                </c:pt>
                <c:pt idx="14">
                  <c:v>4.7958450228429608E-2</c:v>
                </c:pt>
                <c:pt idx="15">
                  <c:v>4.4928732563388071E-2</c:v>
                </c:pt>
                <c:pt idx="16">
                  <c:v>3.9195820211996225E-2</c:v>
                </c:pt>
                <c:pt idx="17">
                  <c:v>3.2144114765527962E-2</c:v>
                </c:pt>
                <c:pt idx="18">
                  <c:v>2.4565764107301387E-2</c:v>
                </c:pt>
                <c:pt idx="19">
                  <c:v>1.8364326052545597E-2</c:v>
                </c:pt>
                <c:pt idx="20">
                  <c:v>1.4675214436544074E-2</c:v>
                </c:pt>
                <c:pt idx="21">
                  <c:v>1.3118354184292913E-2</c:v>
                </c:pt>
                <c:pt idx="22">
                  <c:v>9.0575653026418613E-3</c:v>
                </c:pt>
                <c:pt idx="23">
                  <c:v>5.6406676746000783E-3</c:v>
                </c:pt>
                <c:pt idx="24">
                  <c:v>4.3295915993096989E-3</c:v>
                </c:pt>
                <c:pt idx="25">
                  <c:v>4.6509858220615376E-3</c:v>
                </c:pt>
                <c:pt idx="26">
                  <c:v>7.533106561410265E-3</c:v>
                </c:pt>
                <c:pt idx="27">
                  <c:v>1.4676191047632554E-2</c:v>
                </c:pt>
                <c:pt idx="28">
                  <c:v>2.1770530529582433E-2</c:v>
                </c:pt>
                <c:pt idx="29">
                  <c:v>2.5848901184086885E-2</c:v>
                </c:pt>
                <c:pt idx="30">
                  <c:v>2.9021537334204633E-2</c:v>
                </c:pt>
                <c:pt idx="31">
                  <c:v>3.0098463687150839E-2</c:v>
                </c:pt>
                <c:pt idx="32">
                  <c:v>3.2401907393045708E-2</c:v>
                </c:pt>
                <c:pt idx="33">
                  <c:v>2.8480861769920162E-2</c:v>
                </c:pt>
                <c:pt idx="34">
                  <c:v>2.0997197288784422E-2</c:v>
                </c:pt>
                <c:pt idx="35">
                  <c:v>1.704231957981894E-2</c:v>
                </c:pt>
                <c:pt idx="36">
                  <c:v>1.4664501228990967E-2</c:v>
                </c:pt>
                <c:pt idx="37">
                  <c:v>1.1933104254934133E-2</c:v>
                </c:pt>
                <c:pt idx="38">
                  <c:v>1.0405995659589983E-2</c:v>
                </c:pt>
                <c:pt idx="39">
                  <c:v>9.2503175830119504E-3</c:v>
                </c:pt>
                <c:pt idx="40">
                  <c:v>7.4108460924876603E-3</c:v>
                </c:pt>
                <c:pt idx="41">
                  <c:v>5.297971016062050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J$2:$J$43</c:f>
              <c:numCache>
                <c:formatCode>0.0%</c:formatCode>
                <c:ptCount val="42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5438252590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E$2:$E$43</c:f>
              <c:numCache>
                <c:formatCode>0.0%</c:formatCode>
                <c:ptCount val="42"/>
                <c:pt idx="0">
                  <c:v>0.11810980140571137</c:v>
                </c:pt>
                <c:pt idx="1">
                  <c:v>0.100110815080282</c:v>
                </c:pt>
                <c:pt idx="2">
                  <c:v>8.5768930312744115E-2</c:v>
                </c:pt>
                <c:pt idx="3">
                  <c:v>6.7841057003402996E-2</c:v>
                </c:pt>
                <c:pt idx="4">
                  <c:v>5.8604683254365186E-2</c:v>
                </c:pt>
                <c:pt idx="5">
                  <c:v>4.7901097678488255E-2</c:v>
                </c:pt>
                <c:pt idx="6">
                  <c:v>4.7482349571395292E-2</c:v>
                </c:pt>
                <c:pt idx="7">
                  <c:v>4.8087639678511145E-2</c:v>
                </c:pt>
                <c:pt idx="8">
                  <c:v>5.061260589454334E-2</c:v>
                </c:pt>
                <c:pt idx="9">
                  <c:v>5.5708761376508729E-2</c:v>
                </c:pt>
                <c:pt idx="10">
                  <c:v>6.7559697996225687E-2</c:v>
                </c:pt>
                <c:pt idx="11">
                  <c:v>8.1957760388433554E-2</c:v>
                </c:pt>
                <c:pt idx="12">
                  <c:v>9.3082576703611114E-2</c:v>
                </c:pt>
                <c:pt idx="13">
                  <c:v>0.10072598063597403</c:v>
                </c:pt>
                <c:pt idx="14">
                  <c:v>0.10788184485093152</c:v>
                </c:pt>
                <c:pt idx="15">
                  <c:v>0.10109053020886</c:v>
                </c:pt>
                <c:pt idx="16">
                  <c:v>9.1381668746302061E-2</c:v>
                </c:pt>
                <c:pt idx="17">
                  <c:v>8.0151478110127225E-2</c:v>
                </c:pt>
                <c:pt idx="18">
                  <c:v>6.4164616003508174E-2</c:v>
                </c:pt>
                <c:pt idx="19">
                  <c:v>4.3152894930800101E-2</c:v>
                </c:pt>
                <c:pt idx="20">
                  <c:v>3.1400727486806418E-2</c:v>
                </c:pt>
                <c:pt idx="21">
                  <c:v>2.3391323237900417E-2</c:v>
                </c:pt>
                <c:pt idx="22">
                  <c:v>1.6792619291880095E-2</c:v>
                </c:pt>
                <c:pt idx="23">
                  <c:v>9.9435900383456361E-3</c:v>
                </c:pt>
                <c:pt idx="24">
                  <c:v>6.7419944938745405E-3</c:v>
                </c:pt>
                <c:pt idx="25">
                  <c:v>4.8044114733528515E-3</c:v>
                </c:pt>
                <c:pt idx="26">
                  <c:v>9.0914288047694875E-3</c:v>
                </c:pt>
                <c:pt idx="27">
                  <c:v>1.4959606430064004E-2</c:v>
                </c:pt>
                <c:pt idx="28">
                  <c:v>2.1238613458244581E-2</c:v>
                </c:pt>
                <c:pt idx="29">
                  <c:v>2.6556652534890857E-2</c:v>
                </c:pt>
                <c:pt idx="30">
                  <c:v>3.457711484959506E-2</c:v>
                </c:pt>
                <c:pt idx="31">
                  <c:v>5.6424179678421262E-2</c:v>
                </c:pt>
                <c:pt idx="32">
                  <c:v>7.1796007457069738E-2</c:v>
                </c:pt>
                <c:pt idx="33">
                  <c:v>7.6947896694042214E-2</c:v>
                </c:pt>
                <c:pt idx="34">
                  <c:v>7.88550568954208E-2</c:v>
                </c:pt>
                <c:pt idx="35">
                  <c:v>7.0873026784981266E-2</c:v>
                </c:pt>
                <c:pt idx="36">
                  <c:v>6.2528127068166781E-2</c:v>
                </c:pt>
                <c:pt idx="37">
                  <c:v>5.5689365360366491E-2</c:v>
                </c:pt>
                <c:pt idx="38">
                  <c:v>5.8525680259759121E-2</c:v>
                </c:pt>
                <c:pt idx="39">
                  <c:v>6.096263108203797E-2</c:v>
                </c:pt>
                <c:pt idx="40">
                  <c:v>7.8163719551380226E-2</c:v>
                </c:pt>
                <c:pt idx="41">
                  <c:v>0.11026746987951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G$2:$G$43</c:f>
              <c:numCache>
                <c:formatCode>0.0%</c:formatCode>
                <c:ptCount val="42"/>
                <c:pt idx="0">
                  <c:v>0.12414847402231759</c:v>
                </c:pt>
                <c:pt idx="1">
                  <c:v>0.11438158743815874</c:v>
                </c:pt>
                <c:pt idx="2">
                  <c:v>0.11184843121283203</c:v>
                </c:pt>
                <c:pt idx="3">
                  <c:v>0.11078091033495285</c:v>
                </c:pt>
                <c:pt idx="4">
                  <c:v>0.10711975759191242</c:v>
                </c:pt>
                <c:pt idx="5">
                  <c:v>0.10156314043239838</c:v>
                </c:pt>
                <c:pt idx="6">
                  <c:v>8.918302710848286E-2</c:v>
                </c:pt>
                <c:pt idx="7">
                  <c:v>8.5957444521479284E-2</c:v>
                </c:pt>
                <c:pt idx="8">
                  <c:v>7.1941768318601551E-2</c:v>
                </c:pt>
                <c:pt idx="9">
                  <c:v>7.0669671910575549E-2</c:v>
                </c:pt>
                <c:pt idx="10">
                  <c:v>7.3585074508140211E-2</c:v>
                </c:pt>
                <c:pt idx="11">
                  <c:v>7.8180083270180126E-2</c:v>
                </c:pt>
                <c:pt idx="12">
                  <c:v>8.5479614906234749E-2</c:v>
                </c:pt>
                <c:pt idx="13">
                  <c:v>8.9983315114205167E-2</c:v>
                </c:pt>
                <c:pt idx="14">
                  <c:v>8.9951099376013824E-2</c:v>
                </c:pt>
                <c:pt idx="15">
                  <c:v>9.4596043487655893E-2</c:v>
                </c:pt>
                <c:pt idx="16">
                  <c:v>9.7686326688905839E-2</c:v>
                </c:pt>
                <c:pt idx="17">
                  <c:v>0.12621796013030068</c:v>
                </c:pt>
                <c:pt idx="18">
                  <c:v>0.11592733058631695</c:v>
                </c:pt>
                <c:pt idx="19">
                  <c:v>8.0888940098803125E-2</c:v>
                </c:pt>
                <c:pt idx="20">
                  <c:v>7.4107455986532927E-2</c:v>
                </c:pt>
                <c:pt idx="21">
                  <c:v>5.5127582859520179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52194440086152E-2</c:v>
                </c:pt>
                <c:pt idx="25">
                  <c:v>1.0636954679948983E-2</c:v>
                </c:pt>
                <c:pt idx="26">
                  <c:v>6.0366117182194236E-2</c:v>
                </c:pt>
                <c:pt idx="27">
                  <c:v>9.4412058975218718E-2</c:v>
                </c:pt>
                <c:pt idx="28">
                  <c:v>4.8721701235239251E-2</c:v>
                </c:pt>
                <c:pt idx="29">
                  <c:v>3.320611829909325E-2</c:v>
                </c:pt>
                <c:pt idx="30">
                  <c:v>2.8900613795666271E-2</c:v>
                </c:pt>
                <c:pt idx="31">
                  <c:v>3.0901936117333006E-2</c:v>
                </c:pt>
                <c:pt idx="32">
                  <c:v>3.5909462313104192E-2</c:v>
                </c:pt>
                <c:pt idx="33">
                  <c:v>4.3688237989409955E-2</c:v>
                </c:pt>
                <c:pt idx="34">
                  <c:v>4.5938234001212115E-2</c:v>
                </c:pt>
                <c:pt idx="35">
                  <c:v>4.4347639223093885E-2</c:v>
                </c:pt>
                <c:pt idx="36">
                  <c:v>3.7979037456328031E-2</c:v>
                </c:pt>
                <c:pt idx="37">
                  <c:v>2.3983578662173103E-2</c:v>
                </c:pt>
                <c:pt idx="38">
                  <c:v>1.9933629388161029E-2</c:v>
                </c:pt>
                <c:pt idx="39">
                  <c:v>3.1700882588086926E-2</c:v>
                </c:pt>
                <c:pt idx="40">
                  <c:v>3.6955634399824168E-2</c:v>
                </c:pt>
                <c:pt idx="41">
                  <c:v>5.24760559949111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I$2:$I$43</c:f>
              <c:numCache>
                <c:formatCode>0.0%</c:formatCode>
                <c:ptCount val="42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B$2:$B$43</c:f>
              <c:numCache>
                <c:formatCode>0.0%</c:formatCode>
                <c:ptCount val="42"/>
                <c:pt idx="0">
                  <c:v>0.10679753347684898</c:v>
                </c:pt>
                <c:pt idx="1">
                  <c:v>1.2007875095285362E-2</c:v>
                </c:pt>
                <c:pt idx="2">
                  <c:v>8.8792686859189181E-3</c:v>
                </c:pt>
                <c:pt idx="3">
                  <c:v>1.4503296411692311E-2</c:v>
                </c:pt>
                <c:pt idx="4">
                  <c:v>9.4930249801100514E-3</c:v>
                </c:pt>
                <c:pt idx="5">
                  <c:v>6.4037155624362269E-3</c:v>
                </c:pt>
                <c:pt idx="6">
                  <c:v>7.7532963335576414E-3</c:v>
                </c:pt>
                <c:pt idx="7">
                  <c:v>8.975691756430957E-3</c:v>
                </c:pt>
                <c:pt idx="8">
                  <c:v>9.8912321633642421E-3</c:v>
                </c:pt>
                <c:pt idx="9">
                  <c:v>9.9626543908140942E-3</c:v>
                </c:pt>
                <c:pt idx="10">
                  <c:v>1.0592370259408368E-2</c:v>
                </c:pt>
                <c:pt idx="11">
                  <c:v>1.0723457412946081E-2</c:v>
                </c:pt>
                <c:pt idx="12">
                  <c:v>9.580810722985696E-3</c:v>
                </c:pt>
                <c:pt idx="13">
                  <c:v>8.5160716185759475E-3</c:v>
                </c:pt>
                <c:pt idx="14">
                  <c:v>7.7651229220020435E-3</c:v>
                </c:pt>
                <c:pt idx="15">
                  <c:v>7.2916792862906055E-3</c:v>
                </c:pt>
                <c:pt idx="16">
                  <c:v>6.4211271632174391E-3</c:v>
                </c:pt>
                <c:pt idx="17">
                  <c:v>1.8444063846157937E-3</c:v>
                </c:pt>
                <c:pt idx="18">
                  <c:v>1.4115118493612489E-3</c:v>
                </c:pt>
                <c:pt idx="19">
                  <c:v>7.4098169106467026E-4</c:v>
                </c:pt>
                <c:pt idx="20">
                  <c:v>8.6120809584681781E-4</c:v>
                </c:pt>
                <c:pt idx="21">
                  <c:v>4.9861148123416118E-4</c:v>
                </c:pt>
                <c:pt idx="22">
                  <c:v>2.9807641588952625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45565295707621E-4</c:v>
                </c:pt>
                <c:pt idx="26">
                  <c:v>2.6767640427584815E-4</c:v>
                </c:pt>
                <c:pt idx="27">
                  <c:v>6.4409399305953466E-4</c:v>
                </c:pt>
                <c:pt idx="28">
                  <c:v>9.0088196665133729E-4</c:v>
                </c:pt>
                <c:pt idx="29">
                  <c:v>1.0090710833138765E-3</c:v>
                </c:pt>
                <c:pt idx="30">
                  <c:v>1.3506209872354159E-3</c:v>
                </c:pt>
                <c:pt idx="31">
                  <c:v>2.2780673724496999E-3</c:v>
                </c:pt>
                <c:pt idx="32">
                  <c:v>2.9071906969897698E-3</c:v>
                </c:pt>
                <c:pt idx="33">
                  <c:v>3.4905272971443159E-3</c:v>
                </c:pt>
                <c:pt idx="34">
                  <c:v>3.9793419178703248E-3</c:v>
                </c:pt>
                <c:pt idx="35">
                  <c:v>4.2461728533858467E-3</c:v>
                </c:pt>
                <c:pt idx="36">
                  <c:v>4.6169721455677267E-3</c:v>
                </c:pt>
                <c:pt idx="37">
                  <c:v>3.7124835737459383E-3</c:v>
                </c:pt>
                <c:pt idx="38">
                  <c:v>4.1747588270877774E-3</c:v>
                </c:pt>
                <c:pt idx="39">
                  <c:v>3.4887743986875045E-3</c:v>
                </c:pt>
                <c:pt idx="40">
                  <c:v>4.2865047709899776E-3</c:v>
                </c:pt>
                <c:pt idx="41">
                  <c:v>6.495742613074013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K$2:$K$43</c:f>
              <c:numCache>
                <c:formatCode>0.0%</c:formatCode>
                <c:ptCount val="42"/>
                <c:pt idx="0">
                  <c:v>0.5260947155014386</c:v>
                </c:pt>
                <c:pt idx="1">
                  <c:v>0.41250189987978941</c:v>
                </c:pt>
                <c:pt idx="2">
                  <c:v>0.50369860657147769</c:v>
                </c:pt>
                <c:pt idx="3">
                  <c:v>0.46675018422991893</c:v>
                </c:pt>
                <c:pt idx="4">
                  <c:v>0.51831930375231849</c:v>
                </c:pt>
                <c:pt idx="5">
                  <c:v>0.49293347620840455</c:v>
                </c:pt>
                <c:pt idx="6">
                  <c:v>0.53619298995827003</c:v>
                </c:pt>
                <c:pt idx="7">
                  <c:v>0.48659883034801082</c:v>
                </c:pt>
                <c:pt idx="8">
                  <c:v>0.42785176829502775</c:v>
                </c:pt>
                <c:pt idx="9">
                  <c:v>0.39096586063657118</c:v>
                </c:pt>
                <c:pt idx="10">
                  <c:v>0.3484147462704274</c:v>
                </c:pt>
                <c:pt idx="11">
                  <c:v>0.30373660664533281</c:v>
                </c:pt>
                <c:pt idx="12">
                  <c:v>0.2705167727695591</c:v>
                </c:pt>
                <c:pt idx="13">
                  <c:v>0.21305568130375735</c:v>
                </c:pt>
                <c:pt idx="14">
                  <c:v>0.15371063642369523</c:v>
                </c:pt>
                <c:pt idx="15">
                  <c:v>9.8519132804170129E-2</c:v>
                </c:pt>
                <c:pt idx="16">
                  <c:v>7.8997096372770428E-2</c:v>
                </c:pt>
                <c:pt idx="17">
                  <c:v>0.10015339899886969</c:v>
                </c:pt>
                <c:pt idx="18">
                  <c:v>4.4307930041108372E-3</c:v>
                </c:pt>
                <c:pt idx="19">
                  <c:v>3.8954919272416988E-3</c:v>
                </c:pt>
                <c:pt idx="20">
                  <c:v>3.4675485096742386E-3</c:v>
                </c:pt>
                <c:pt idx="21">
                  <c:v>3.1446127126560793E-3</c:v>
                </c:pt>
                <c:pt idx="22">
                  <c:v>2.4742329137179176E-3</c:v>
                </c:pt>
                <c:pt idx="23">
                  <c:v>1.4659615015956426E-3</c:v>
                </c:pt>
                <c:pt idx="24">
                  <c:v>1.3093587171650533E-3</c:v>
                </c:pt>
                <c:pt idx="25">
                  <c:v>1.0630708760543284E-3</c:v>
                </c:pt>
                <c:pt idx="26">
                  <c:v>2.4285447412665793E-3</c:v>
                </c:pt>
                <c:pt idx="27">
                  <c:v>2.2151018431707894E-3</c:v>
                </c:pt>
                <c:pt idx="28">
                  <c:v>3.1765375740442918E-3</c:v>
                </c:pt>
                <c:pt idx="29">
                  <c:v>4.1363613873633166E-3</c:v>
                </c:pt>
                <c:pt idx="30">
                  <c:v>4.4324937503938825E-3</c:v>
                </c:pt>
                <c:pt idx="31">
                  <c:v>5.7172819214907286E-3</c:v>
                </c:pt>
                <c:pt idx="32">
                  <c:v>5.9536372590403824E-3</c:v>
                </c:pt>
                <c:pt idx="33">
                  <c:v>7.2903576553211592E-3</c:v>
                </c:pt>
                <c:pt idx="34">
                  <c:v>1.1202922843224557E-2</c:v>
                </c:pt>
                <c:pt idx="35">
                  <c:v>1.7050535120214604E-2</c:v>
                </c:pt>
                <c:pt idx="36">
                  <c:v>2.8315500796283626E-2</c:v>
                </c:pt>
                <c:pt idx="37">
                  <c:v>2.9612272907862894E-2</c:v>
                </c:pt>
                <c:pt idx="38">
                  <c:v>3.81193407709687E-2</c:v>
                </c:pt>
                <c:pt idx="39">
                  <c:v>4.5613332999841591E-2</c:v>
                </c:pt>
                <c:pt idx="40">
                  <c:v>5.4961463566297393E-2</c:v>
                </c:pt>
                <c:pt idx="41">
                  <c:v>8.287499352278868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3</c:f>
              <c:numCache>
                <c:formatCode>0.0%</c:formatCode>
                <c:ptCount val="42"/>
                <c:pt idx="0">
                  <c:v>0.17976931578070066</c:v>
                </c:pt>
                <c:pt idx="1">
                  <c:v>0.16660408376179897</c:v>
                </c:pt>
                <c:pt idx="2">
                  <c:v>0.13760623163718561</c:v>
                </c:pt>
                <c:pt idx="3">
                  <c:v>9.9395134985040073E-2</c:v>
                </c:pt>
                <c:pt idx="4">
                  <c:v>7.0097005005085644E-2</c:v>
                </c:pt>
                <c:pt idx="5">
                  <c:v>5.3124388420657503E-2</c:v>
                </c:pt>
                <c:pt idx="6">
                  <c:v>4.9495723153886118E-2</c:v>
                </c:pt>
                <c:pt idx="7">
                  <c:v>4.5246422147686635E-2</c:v>
                </c:pt>
                <c:pt idx="8">
                  <c:v>4.204629859656512E-2</c:v>
                </c:pt>
                <c:pt idx="9">
                  <c:v>4.3998613328173626E-2</c:v>
                </c:pt>
                <c:pt idx="10">
                  <c:v>4.9959198476743134E-2</c:v>
                </c:pt>
                <c:pt idx="11">
                  <c:v>5.4682730041165625E-2</c:v>
                </c:pt>
                <c:pt idx="12">
                  <c:v>7.6092880769809051E-2</c:v>
                </c:pt>
                <c:pt idx="13">
                  <c:v>7.0829829629647484E-2</c:v>
                </c:pt>
                <c:pt idx="14">
                  <c:v>6.7194852543958655E-2</c:v>
                </c:pt>
                <c:pt idx="15">
                  <c:v>6.4224546425731235E-2</c:v>
                </c:pt>
                <c:pt idx="16">
                  <c:v>5.6576710218519996E-2</c:v>
                </c:pt>
                <c:pt idx="17">
                  <c:v>4.8966941391829562E-2</c:v>
                </c:pt>
                <c:pt idx="18">
                  <c:v>4.3590659826184326E-2</c:v>
                </c:pt>
                <c:pt idx="19">
                  <c:v>4.3960477281274571E-2</c:v>
                </c:pt>
                <c:pt idx="20">
                  <c:v>4.3065313926762258E-2</c:v>
                </c:pt>
                <c:pt idx="21">
                  <c:v>4.0424017201956243E-2</c:v>
                </c:pt>
                <c:pt idx="22">
                  <c:v>3.6241365763725844E-2</c:v>
                </c:pt>
                <c:pt idx="23">
                  <c:v>3.9353034951814081E-2</c:v>
                </c:pt>
                <c:pt idx="24">
                  <c:v>5.7817388340905676E-2</c:v>
                </c:pt>
                <c:pt idx="25">
                  <c:v>0.1068063461593287</c:v>
                </c:pt>
                <c:pt idx="26">
                  <c:v>0.13715915376302973</c:v>
                </c:pt>
                <c:pt idx="27">
                  <c:v>0.15019015919029097</c:v>
                </c:pt>
                <c:pt idx="28">
                  <c:v>0.14450009551789172</c:v>
                </c:pt>
                <c:pt idx="29">
                  <c:v>0.12312877035724264</c:v>
                </c:pt>
                <c:pt idx="30">
                  <c:v>0.10810032910676007</c:v>
                </c:pt>
                <c:pt idx="31">
                  <c:v>9.2506822978986575E-2</c:v>
                </c:pt>
                <c:pt idx="32">
                  <c:v>8.2039657726908841E-2</c:v>
                </c:pt>
                <c:pt idx="33">
                  <c:v>6.2139371558574304E-2</c:v>
                </c:pt>
                <c:pt idx="34">
                  <c:v>4.3001407887647086E-2</c:v>
                </c:pt>
                <c:pt idx="35">
                  <c:v>3.3828340164729312E-2</c:v>
                </c:pt>
                <c:pt idx="36">
                  <c:v>2.6825621555730504E-2</c:v>
                </c:pt>
                <c:pt idx="37">
                  <c:v>2.1911846882424008E-2</c:v>
                </c:pt>
                <c:pt idx="38">
                  <c:v>1.7252437729364391E-2</c:v>
                </c:pt>
                <c:pt idx="39">
                  <c:v>1.882743967856617E-2</c:v>
                </c:pt>
                <c:pt idx="40">
                  <c:v>2.0637860005173054E-2</c:v>
                </c:pt>
                <c:pt idx="41" formatCode="General">
                  <c:v>1.485916039574008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I$2:$I$43</c:f>
              <c:numCache>
                <c:formatCode>General</c:formatCode>
                <c:ptCount val="42"/>
                <c:pt idx="0">
                  <c:v>7.2901225782039223</c:v>
                </c:pt>
                <c:pt idx="1">
                  <c:v>6.3181062344433991</c:v>
                </c:pt>
                <c:pt idx="2">
                  <c:v>6.2052829088283383</c:v>
                </c:pt>
                <c:pt idx="3">
                  <c:v>5.7800257584331094</c:v>
                </c:pt>
                <c:pt idx="4">
                  <c:v>5.094407087387741</c:v>
                </c:pt>
                <c:pt idx="5">
                  <c:v>4.9729050444176757</c:v>
                </c:pt>
                <c:pt idx="6">
                  <c:v>4.2438927865972831</c:v>
                </c:pt>
                <c:pt idx="7">
                  <c:v>3.2979125949017747</c:v>
                </c:pt>
                <c:pt idx="8">
                  <c:v>2.9594426180565918</c:v>
                </c:pt>
                <c:pt idx="9">
                  <c:v>2.9681213354115967</c:v>
                </c:pt>
                <c:pt idx="10">
                  <c:v>3.0288723568966294</c:v>
                </c:pt>
                <c:pt idx="11">
                  <c:v>3.176410551931709</c:v>
                </c:pt>
                <c:pt idx="12">
                  <c:v>3.8533505056220734</c:v>
                </c:pt>
                <c:pt idx="13">
                  <c:v>4.7038648064125308</c:v>
                </c:pt>
                <c:pt idx="14">
                  <c:v>4.7559371105425585</c:v>
                </c:pt>
                <c:pt idx="15">
                  <c:v>4.6431137849274977</c:v>
                </c:pt>
                <c:pt idx="16">
                  <c:v>4.5736840460874602</c:v>
                </c:pt>
                <c:pt idx="17">
                  <c:v>4.4174671336973761</c:v>
                </c:pt>
                <c:pt idx="18">
                  <c:v>3.4280933552268444</c:v>
                </c:pt>
                <c:pt idx="19">
                  <c:v>2.334574968496256</c:v>
                </c:pt>
                <c:pt idx="20">
                  <c:v>1.9700688395860599</c:v>
                </c:pt>
                <c:pt idx="21">
                  <c:v>1.5795265586108498</c:v>
                </c:pt>
                <c:pt idx="22">
                  <c:v>1.1629481255706258</c:v>
                </c:pt>
                <c:pt idx="23">
                  <c:v>0.78976327930542489</c:v>
                </c:pt>
                <c:pt idx="24">
                  <c:v>0.5554379107202988</c:v>
                </c:pt>
                <c:pt idx="25">
                  <c:v>0.37318484626520076</c:v>
                </c:pt>
                <c:pt idx="26">
                  <c:v>0.26036152065014007</c:v>
                </c:pt>
                <c:pt idx="27">
                  <c:v>0.14753819503507937</c:v>
                </c:pt>
                <c:pt idx="28">
                  <c:v>0.15621691239008403</c:v>
                </c:pt>
                <c:pt idx="29">
                  <c:v>0.2777189553601494</c:v>
                </c:pt>
                <c:pt idx="30">
                  <c:v>0.3818635636202054</c:v>
                </c:pt>
                <c:pt idx="31">
                  <c:v>0.3905422809752101</c:v>
                </c:pt>
                <c:pt idx="32">
                  <c:v>0.5467591933652941</c:v>
                </c:pt>
                <c:pt idx="33">
                  <c:v>0.63354636691534083</c:v>
                </c:pt>
                <c:pt idx="34">
                  <c:v>0.62486764956033614</c:v>
                </c:pt>
                <c:pt idx="35">
                  <c:v>0.76372712724041081</c:v>
                </c:pt>
                <c:pt idx="36">
                  <c:v>0.75504840988540622</c:v>
                </c:pt>
                <c:pt idx="37">
                  <c:v>0.80712071401543428</c:v>
                </c:pt>
                <c:pt idx="38">
                  <c:v>0.95465890905051365</c:v>
                </c:pt>
                <c:pt idx="39">
                  <c:v>1.0240886478905511</c:v>
                </c:pt>
                <c:pt idx="40">
                  <c:v>1.3278437553157143</c:v>
                </c:pt>
                <c:pt idx="41">
                  <c:v>1.6229201453858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C$2:$C$43</c:f>
              <c:numCache>
                <c:formatCode>General</c:formatCode>
                <c:ptCount val="42"/>
                <c:pt idx="0">
                  <c:v>20.637858510320658</c:v>
                </c:pt>
                <c:pt idx="1">
                  <c:v>22.330406036540886</c:v>
                </c:pt>
                <c:pt idx="2">
                  <c:v>20.600454145100322</c:v>
                </c:pt>
                <c:pt idx="3">
                  <c:v>18.842448979744507</c:v>
                </c:pt>
                <c:pt idx="4">
                  <c:v>17.710966931829329</c:v>
                </c:pt>
                <c:pt idx="5">
                  <c:v>17.411732010066636</c:v>
                </c:pt>
                <c:pt idx="6">
                  <c:v>19.001417531930937</c:v>
                </c:pt>
                <c:pt idx="7">
                  <c:v>21.470105636473146</c:v>
                </c:pt>
                <c:pt idx="8">
                  <c:v>24.462454854100063</c:v>
                </c:pt>
                <c:pt idx="9">
                  <c:v>27.595070441303246</c:v>
                </c:pt>
                <c:pt idx="10">
                  <c:v>27.660528080438834</c:v>
                </c:pt>
                <c:pt idx="11">
                  <c:v>24.471805945405148</c:v>
                </c:pt>
                <c:pt idx="12">
                  <c:v>20.862284701642679</c:v>
                </c:pt>
                <c:pt idx="13">
                  <c:v>17.009635083948019</c:v>
                </c:pt>
                <c:pt idx="14">
                  <c:v>12.680079809694071</c:v>
                </c:pt>
                <c:pt idx="15">
                  <c:v>9.201473844202777</c:v>
                </c:pt>
                <c:pt idx="16">
                  <c:v>7.0133184788130922</c:v>
                </c:pt>
                <c:pt idx="17">
                  <c:v>5.4890905960843801</c:v>
                </c:pt>
                <c:pt idx="18">
                  <c:v>3.9274583481353318</c:v>
                </c:pt>
                <c:pt idx="19">
                  <c:v>2.5247946523727132</c:v>
                </c:pt>
                <c:pt idx="20">
                  <c:v>1.5055257001185438</c:v>
                </c:pt>
                <c:pt idx="21">
                  <c:v>0.87900258267790754</c:v>
                </c:pt>
                <c:pt idx="22">
                  <c:v>0.58911875222029975</c:v>
                </c:pt>
                <c:pt idx="23">
                  <c:v>0.36469256089828078</c:v>
                </c:pt>
                <c:pt idx="24">
                  <c:v>0.22442619132201896</c:v>
                </c:pt>
                <c:pt idx="25">
                  <c:v>0.15896855218643008</c:v>
                </c:pt>
                <c:pt idx="26">
                  <c:v>8.415982174575710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215641869660936</c:v>
                </c:pt>
                <c:pt idx="33">
                  <c:v>0.1496174608813459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2938512179656156</c:v>
                </c:pt>
                <c:pt idx="41">
                  <c:v>1.1969396870507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D$2:$D$43</c:f>
              <c:numCache>
                <c:formatCode>General</c:formatCode>
                <c:ptCount val="42"/>
                <c:pt idx="0">
                  <c:v>9.444414141511369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41510942270298</c:v>
                </c:pt>
                <c:pt idx="7">
                  <c:v>7.0038396787081014</c:v>
                </c:pt>
                <c:pt idx="8">
                  <c:v>6.3205382466390185</c:v>
                </c:pt>
                <c:pt idx="9">
                  <c:v>5.8897612568563353</c:v>
                </c:pt>
                <c:pt idx="10">
                  <c:v>5.5287998481763632</c:v>
                </c:pt>
                <c:pt idx="11">
                  <c:v>5.4961202144687116</c:v>
                </c:pt>
                <c:pt idx="12">
                  <c:v>5.7367611535886933</c:v>
                </c:pt>
                <c:pt idx="13">
                  <c:v>6.1497128886217478</c:v>
                </c:pt>
                <c:pt idx="14">
                  <c:v>6.139314823351131</c:v>
                </c:pt>
                <c:pt idx="15">
                  <c:v>6.062072052769409</c:v>
                </c:pt>
                <c:pt idx="16">
                  <c:v>6.06949924224842</c:v>
                </c:pt>
                <c:pt idx="17">
                  <c:v>5.2658773406193466</c:v>
                </c:pt>
                <c:pt idx="18">
                  <c:v>4.1235755987473359</c:v>
                </c:pt>
                <c:pt idx="19">
                  <c:v>3.2531089918071561</c:v>
                </c:pt>
                <c:pt idx="20">
                  <c:v>2.6143706966121441</c:v>
                </c:pt>
                <c:pt idx="21">
                  <c:v>2.0603023614778655</c:v>
                </c:pt>
                <c:pt idx="22">
                  <c:v>1.4497873863030981</c:v>
                </c:pt>
                <c:pt idx="23">
                  <c:v>1.0531754681238692</c:v>
                </c:pt>
                <c:pt idx="24">
                  <c:v>0.84669960060734206</c:v>
                </c:pt>
                <c:pt idx="25">
                  <c:v>0.66250530152785003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364104238762399</c:v>
                </c:pt>
                <c:pt idx="29">
                  <c:v>0.64170917098661717</c:v>
                </c:pt>
                <c:pt idx="30">
                  <c:v>0.95216569120930927</c:v>
                </c:pt>
                <c:pt idx="31">
                  <c:v>1.2121173229747213</c:v>
                </c:pt>
                <c:pt idx="32">
                  <c:v>1.8983896308354089</c:v>
                </c:pt>
                <c:pt idx="33">
                  <c:v>2.3024287384936493</c:v>
                </c:pt>
                <c:pt idx="34">
                  <c:v>2.1137781257267507</c:v>
                </c:pt>
                <c:pt idx="35">
                  <c:v>1.926612950855654</c:v>
                </c:pt>
                <c:pt idx="36">
                  <c:v>1.6339816853825899</c:v>
                </c:pt>
                <c:pt idx="37">
                  <c:v>1.332437792534712</c:v>
                </c:pt>
                <c:pt idx="38">
                  <c:v>1.0843696639357188</c:v>
                </c:pt>
                <c:pt idx="39">
                  <c:v>0.84669960060734206</c:v>
                </c:pt>
                <c:pt idx="40">
                  <c:v>0.67884511838167594</c:v>
                </c:pt>
                <c:pt idx="41">
                  <c:v>0.60902953727896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F$2:$F$43</c:f>
              <c:numCache>
                <c:formatCode>General</c:formatCode>
                <c:ptCount val="42"/>
                <c:pt idx="0">
                  <c:v>10.99234814530449</c:v>
                </c:pt>
                <c:pt idx="1">
                  <c:v>11.022528478833392</c:v>
                </c:pt>
                <c:pt idx="2">
                  <c:v>10.730785254720674</c:v>
                </c:pt>
                <c:pt idx="3">
                  <c:v>10.003103879634928</c:v>
                </c:pt>
                <c:pt idx="4">
                  <c:v>9.0557767438666179</c:v>
                </c:pt>
                <c:pt idx="5">
                  <c:v>7.8468867175144936</c:v>
                </c:pt>
                <c:pt idx="6">
                  <c:v>7.0253109714499411</c:v>
                </c:pt>
                <c:pt idx="7">
                  <c:v>6.8911761557659323</c:v>
                </c:pt>
                <c:pt idx="8">
                  <c:v>7.1594457871339499</c:v>
                </c:pt>
                <c:pt idx="9">
                  <c:v>7.8921572178078447</c:v>
                </c:pt>
                <c:pt idx="10">
                  <c:v>8.8663113167129577</c:v>
                </c:pt>
                <c:pt idx="11">
                  <c:v>9.7130373407182606</c:v>
                </c:pt>
                <c:pt idx="12">
                  <c:v>10.123825213750536</c:v>
                </c:pt>
                <c:pt idx="13">
                  <c:v>10.03831426875198</c:v>
                </c:pt>
                <c:pt idx="14">
                  <c:v>8.9769725396522642</c:v>
                </c:pt>
                <c:pt idx="15">
                  <c:v>7.7244886982028351</c:v>
                </c:pt>
                <c:pt idx="16">
                  <c:v>6.6044629872413649</c:v>
                </c:pt>
                <c:pt idx="17">
                  <c:v>5.3670693125563869</c:v>
                </c:pt>
                <c:pt idx="18">
                  <c:v>4.2990208426724701</c:v>
                </c:pt>
                <c:pt idx="19">
                  <c:v>3.2443858543569539</c:v>
                </c:pt>
                <c:pt idx="20">
                  <c:v>2.3037654593728445</c:v>
                </c:pt>
                <c:pt idx="21">
                  <c:v>1.6314146957567524</c:v>
                </c:pt>
                <c:pt idx="22">
                  <c:v>1.1602661556666729</c:v>
                </c:pt>
                <c:pt idx="23">
                  <c:v>0.83331254243690223</c:v>
                </c:pt>
                <c:pt idx="24">
                  <c:v>0.58516313342148674</c:v>
                </c:pt>
                <c:pt idx="25">
                  <c:v>0.40911118783622569</c:v>
                </c:pt>
                <c:pt idx="26">
                  <c:v>0.31354013166136968</c:v>
                </c:pt>
                <c:pt idx="27">
                  <c:v>0.24479603862331537</c:v>
                </c:pt>
                <c:pt idx="28">
                  <c:v>0.23138255705491453</c:v>
                </c:pt>
                <c:pt idx="29">
                  <c:v>0.27665305734826734</c:v>
                </c:pt>
                <c:pt idx="30">
                  <c:v>0.40240444705202522</c:v>
                </c:pt>
                <c:pt idx="31">
                  <c:v>0.63714037449903993</c:v>
                </c:pt>
                <c:pt idx="32">
                  <c:v>0.90708669106310691</c:v>
                </c:pt>
                <c:pt idx="33">
                  <c:v>1.1116422849812198</c:v>
                </c:pt>
                <c:pt idx="34">
                  <c:v>1.2524838414494286</c:v>
                </c:pt>
                <c:pt idx="35">
                  <c:v>1.3178745640953826</c:v>
                </c:pt>
                <c:pt idx="36">
                  <c:v>1.257513897037579</c:v>
                </c:pt>
                <c:pt idx="37">
                  <c:v>1.1502060444903721</c:v>
                </c:pt>
                <c:pt idx="38">
                  <c:v>1.0127178584142638</c:v>
                </c:pt>
                <c:pt idx="39">
                  <c:v>0.82828248684875194</c:v>
                </c:pt>
                <c:pt idx="40">
                  <c:v>0.68911761557659323</c:v>
                </c:pt>
                <c:pt idx="41">
                  <c:v>0.59354655940173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K$2:$K$43</c:f>
              <c:numCache>
                <c:formatCode>General</c:formatCode>
                <c:ptCount val="42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0471822276740961</c:v>
                </c:pt>
                <c:pt idx="35">
                  <c:v>0.44014417894993063</c:v>
                </c:pt>
                <c:pt idx="36">
                  <c:v>0.69604195740919261</c:v>
                </c:pt>
                <c:pt idx="37">
                  <c:v>0.82910880220800887</c:v>
                </c:pt>
                <c:pt idx="38">
                  <c:v>1.1464220474974938</c:v>
                </c:pt>
                <c:pt idx="39">
                  <c:v>1.3306684479881625</c:v>
                </c:pt>
                <c:pt idx="40">
                  <c:v>1.770812626938093</c:v>
                </c:pt>
                <c:pt idx="41">
                  <c:v>2.896762852158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E$2:$E$43</c:f>
              <c:numCache>
                <c:formatCode>General</c:formatCode>
                <c:ptCount val="42"/>
                <c:pt idx="0">
                  <c:v>13.75550368945094</c:v>
                </c:pt>
                <c:pt idx="1">
                  <c:v>12.832057287921366</c:v>
                </c:pt>
                <c:pt idx="2">
                  <c:v>11.984362349017264</c:v>
                </c:pt>
                <c:pt idx="3">
                  <c:v>10.816827901250056</c:v>
                </c:pt>
                <c:pt idx="4">
                  <c:v>9.0565081983343081</c:v>
                </c:pt>
                <c:pt idx="5">
                  <c:v>7.3238437912976995</c:v>
                </c:pt>
                <c:pt idx="6">
                  <c:v>5.737872692837402</c:v>
                </c:pt>
                <c:pt idx="7">
                  <c:v>4.5402781408537365</c:v>
                </c:pt>
                <c:pt idx="8">
                  <c:v>3.7070120519735354</c:v>
                </c:pt>
                <c:pt idx="9">
                  <c:v>3.1406796885354766</c:v>
                </c:pt>
                <c:pt idx="10">
                  <c:v>2.8400786463709018</c:v>
                </c:pt>
                <c:pt idx="11">
                  <c:v>2.8088161379857861</c:v>
                </c:pt>
                <c:pt idx="12">
                  <c:v>3.1154292009936522</c:v>
                </c:pt>
                <c:pt idx="13">
                  <c:v>3.4989961307956494</c:v>
                </c:pt>
                <c:pt idx="14">
                  <c:v>3.6733447352511028</c:v>
                </c:pt>
                <c:pt idx="15">
                  <c:v>3.7527034103825505</c:v>
                </c:pt>
                <c:pt idx="16">
                  <c:v>3.8356692980199738</c:v>
                </c:pt>
                <c:pt idx="17">
                  <c:v>3.6252485685047713</c:v>
                </c:pt>
                <c:pt idx="18">
                  <c:v>3.0889763092831695</c:v>
                </c:pt>
                <c:pt idx="19">
                  <c:v>2.491381437459995</c:v>
                </c:pt>
                <c:pt idx="20">
                  <c:v>1.9394779240458362</c:v>
                </c:pt>
                <c:pt idx="21">
                  <c:v>1.3911816231376517</c:v>
                </c:pt>
                <c:pt idx="22">
                  <c:v>0.91502957234896543</c:v>
                </c:pt>
                <c:pt idx="23">
                  <c:v>0.6288573802082903</c:v>
                </c:pt>
                <c:pt idx="24">
                  <c:v>0.44248473406625394</c:v>
                </c:pt>
                <c:pt idx="25">
                  <c:v>0.27414815045409213</c:v>
                </c:pt>
                <c:pt idx="26">
                  <c:v>0.18517024197337803</c:v>
                </c:pt>
                <c:pt idx="27">
                  <c:v>0.13947888356436267</c:v>
                </c:pt>
                <c:pt idx="28">
                  <c:v>0.13827647939570437</c:v>
                </c:pt>
                <c:pt idx="29">
                  <c:v>0.12745484187777967</c:v>
                </c:pt>
                <c:pt idx="30">
                  <c:v>0.12384762937180478</c:v>
                </c:pt>
                <c:pt idx="31">
                  <c:v>0.15390773358826226</c:v>
                </c:pt>
                <c:pt idx="32">
                  <c:v>0.24168323790031807</c:v>
                </c:pt>
                <c:pt idx="33">
                  <c:v>0.34749480474224836</c:v>
                </c:pt>
                <c:pt idx="34">
                  <c:v>0.50741455917380218</c:v>
                </c:pt>
                <c:pt idx="35">
                  <c:v>0.69378720531583848</c:v>
                </c:pt>
                <c:pt idx="36">
                  <c:v>0.86452859726531683</c:v>
                </c:pt>
                <c:pt idx="37">
                  <c:v>0.94749448490273946</c:v>
                </c:pt>
                <c:pt idx="38">
                  <c:v>0.88136225562653303</c:v>
                </c:pt>
                <c:pt idx="39">
                  <c:v>0.84048051389215095</c:v>
                </c:pt>
                <c:pt idx="40">
                  <c:v>0.82965887637422631</c:v>
                </c:pt>
                <c:pt idx="41">
                  <c:v>0.68777518447254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G$2:$G$43</c:f>
              <c:numCache>
                <c:formatCode>General</c:formatCode>
                <c:ptCount val="42"/>
                <c:pt idx="0">
                  <c:v>7.5082212725085071</c:v>
                </c:pt>
                <c:pt idx="1">
                  <c:v>6.9280144258953786</c:v>
                </c:pt>
                <c:pt idx="2">
                  <c:v>6.255893623383141</c:v>
                </c:pt>
                <c:pt idx="3">
                  <c:v>5.5435604651650419</c:v>
                </c:pt>
                <c:pt idx="4">
                  <c:v>4.8139934402158602</c:v>
                </c:pt>
                <c:pt idx="5">
                  <c:v>4.5956977949554751</c:v>
                </c:pt>
                <c:pt idx="6">
                  <c:v>4.6129316616865577</c:v>
                </c:pt>
                <c:pt idx="7">
                  <c:v>3.9005985034684594</c:v>
                </c:pt>
                <c:pt idx="8">
                  <c:v>2.9699696999899756</c:v>
                </c:pt>
                <c:pt idx="9">
                  <c:v>2.487421431519651</c:v>
                </c:pt>
                <c:pt idx="10">
                  <c:v>2.0738086299736578</c:v>
                </c:pt>
                <c:pt idx="11">
                  <c:v>1.8497683624695784</c:v>
                </c:pt>
                <c:pt idx="12">
                  <c:v>1.7348759175956918</c:v>
                </c:pt>
                <c:pt idx="13">
                  <c:v>1.6659404506713598</c:v>
                </c:pt>
                <c:pt idx="14">
                  <c:v>1.6487065839402768</c:v>
                </c:pt>
                <c:pt idx="15">
                  <c:v>1.6659404506713598</c:v>
                </c:pt>
                <c:pt idx="16">
                  <c:v>1.5970049837470275</c:v>
                </c:pt>
                <c:pt idx="17">
                  <c:v>1.5797711170159445</c:v>
                </c:pt>
                <c:pt idx="18">
                  <c:v>1.3097738715623102</c:v>
                </c:pt>
                <c:pt idx="19">
                  <c:v>1.0282873816212874</c:v>
                </c:pt>
                <c:pt idx="20">
                  <c:v>0.7870132473861251</c:v>
                </c:pt>
                <c:pt idx="21">
                  <c:v>0.6319084468063777</c:v>
                </c:pt>
                <c:pt idx="22">
                  <c:v>0.46531440173924177</c:v>
                </c:pt>
                <c:pt idx="23">
                  <c:v>0.1953171562856077</c:v>
                </c:pt>
                <c:pt idx="24">
                  <c:v>0.12063706711758121</c:v>
                </c:pt>
                <c:pt idx="25">
                  <c:v>9.1913955899109501E-2</c:v>
                </c:pt>
                <c:pt idx="26">
                  <c:v>0.1034032003864982</c:v>
                </c:pt>
                <c:pt idx="27">
                  <c:v>0.14936017833605295</c:v>
                </c:pt>
                <c:pt idx="28">
                  <c:v>0.24701875647885677</c:v>
                </c:pt>
                <c:pt idx="29">
                  <c:v>0.35042195686535493</c:v>
                </c:pt>
                <c:pt idx="30">
                  <c:v>0.47680364622663046</c:v>
                </c:pt>
                <c:pt idx="31">
                  <c:v>0.53424986866357393</c:v>
                </c:pt>
                <c:pt idx="32">
                  <c:v>0.45956977949554745</c:v>
                </c:pt>
                <c:pt idx="33">
                  <c:v>0.49403751295771353</c:v>
                </c:pt>
                <c:pt idx="34">
                  <c:v>0.51127137968879655</c:v>
                </c:pt>
                <c:pt idx="35">
                  <c:v>0.44808053500815886</c:v>
                </c:pt>
                <c:pt idx="36">
                  <c:v>0.46531440173924177</c:v>
                </c:pt>
                <c:pt idx="37">
                  <c:v>0.367655823596438</c:v>
                </c:pt>
                <c:pt idx="38">
                  <c:v>0.29297573442841152</c:v>
                </c:pt>
                <c:pt idx="39">
                  <c:v>0.29872035667210589</c:v>
                </c:pt>
                <c:pt idx="40">
                  <c:v>0.39637893481490971</c:v>
                </c:pt>
                <c:pt idx="41">
                  <c:v>0.63765306905007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J$2:$J$43</c:f>
              <c:numCache>
                <c:formatCode>General</c:formatCode>
                <c:ptCount val="42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5616480450121</c:v>
                </c:pt>
                <c:pt idx="16">
                  <c:v>15.951783514776197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2129641870209754</c:v>
                </c:pt>
                <c:pt idx="36">
                  <c:v>0.28715844807772184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9034435250749135</c:v>
                </c:pt>
                <c:pt idx="40">
                  <c:v>1.1170200182105876</c:v>
                </c:pt>
                <c:pt idx="41">
                  <c:v>1.5385370062145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B$2:$B$43</c:f>
              <c:numCache>
                <c:formatCode>General</c:formatCode>
                <c:ptCount val="42"/>
                <c:pt idx="0">
                  <c:v>8.3360820683909242</c:v>
                </c:pt>
                <c:pt idx="1">
                  <c:v>7.8754629783585433</c:v>
                </c:pt>
                <c:pt idx="2">
                  <c:v>7.3474362166141036</c:v>
                </c:pt>
                <c:pt idx="3">
                  <c:v>6.5722479919254599</c:v>
                </c:pt>
                <c:pt idx="4">
                  <c:v>5.6734790357647134</c:v>
                </c:pt>
                <c:pt idx="5">
                  <c:v>4.505079392755742</c:v>
                </c:pt>
                <c:pt idx="6">
                  <c:v>3.752360391971116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197680636831732</c:v>
                </c:pt>
                <c:pt idx="11">
                  <c:v>4.0332256907713511</c:v>
                </c:pt>
                <c:pt idx="12">
                  <c:v>4.392733273235649</c:v>
                </c:pt>
                <c:pt idx="13">
                  <c:v>4.7185370198439198</c:v>
                </c:pt>
                <c:pt idx="14">
                  <c:v>4.5500178405637799</c:v>
                </c:pt>
                <c:pt idx="15">
                  <c:v>3.9995218549153226</c:v>
                </c:pt>
                <c:pt idx="16">
                  <c:v>3.5389027648829394</c:v>
                </c:pt>
                <c:pt idx="17">
                  <c:v>3.0108760031385011</c:v>
                </c:pt>
                <c:pt idx="18">
                  <c:v>2.1682801067378015</c:v>
                </c:pt>
                <c:pt idx="19">
                  <c:v>1.5391418374252785</c:v>
                </c:pt>
                <c:pt idx="20">
                  <c:v>1.1234611952009332</c:v>
                </c:pt>
                <c:pt idx="21">
                  <c:v>0.85383050835270924</c:v>
                </c:pt>
                <c:pt idx="22">
                  <c:v>0.59543443345649461</c:v>
                </c:pt>
                <c:pt idx="23">
                  <c:v>0.41568064222434531</c:v>
                </c:pt>
                <c:pt idx="24">
                  <c:v>0.29209991075224268</c:v>
                </c:pt>
                <c:pt idx="25">
                  <c:v>0.23592685099219599</c:v>
                </c:pt>
                <c:pt idx="26">
                  <c:v>0.134815343424112</c:v>
                </c:pt>
                <c:pt idx="27">
                  <c:v>6.7407671712056E-2</c:v>
                </c:pt>
                <c:pt idx="28">
                  <c:v>8.9876895616074662E-2</c:v>
                </c:pt>
                <c:pt idx="29">
                  <c:v>8.9876895616074662E-2</c:v>
                </c:pt>
                <c:pt idx="30">
                  <c:v>0.12358073147210266</c:v>
                </c:pt>
                <c:pt idx="31">
                  <c:v>0.16851917928013999</c:v>
                </c:pt>
                <c:pt idx="32">
                  <c:v>0.16851917928013999</c:v>
                </c:pt>
                <c:pt idx="33">
                  <c:v>0.37074219441630801</c:v>
                </c:pt>
                <c:pt idx="34">
                  <c:v>0.70778055297658804</c:v>
                </c:pt>
                <c:pt idx="35">
                  <c:v>0.85383050835270924</c:v>
                </c:pt>
                <c:pt idx="36">
                  <c:v>1.1009919712969145</c:v>
                </c:pt>
                <c:pt idx="37">
                  <c:v>1.3706226581451386</c:v>
                </c:pt>
                <c:pt idx="38">
                  <c:v>1.3256842103371014</c:v>
                </c:pt>
                <c:pt idx="39">
                  <c:v>1.2807457625290639</c:v>
                </c:pt>
                <c:pt idx="40">
                  <c:v>1.4942033896172413</c:v>
                </c:pt>
                <c:pt idx="41">
                  <c:v>1.4604995537612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L$2:$L$43</c:f>
              <c:numCache>
                <c:formatCode>General</c:formatCode>
                <c:ptCount val="42"/>
                <c:pt idx="0">
                  <c:v>21.730076899920537</c:v>
                </c:pt>
                <c:pt idx="1">
                  <c:v>22.298063732886419</c:v>
                </c:pt>
                <c:pt idx="2">
                  <c:v>22.572896071418299</c:v>
                </c:pt>
                <c:pt idx="3">
                  <c:v>23.012627813069304</c:v>
                </c:pt>
                <c:pt idx="4">
                  <c:v>23.562292490133061</c:v>
                </c:pt>
                <c:pt idx="5">
                  <c:v>24.405111661630823</c:v>
                </c:pt>
                <c:pt idx="6">
                  <c:v>24.8998098709882</c:v>
                </c:pt>
                <c:pt idx="7">
                  <c:v>24.551688908847822</c:v>
                </c:pt>
                <c:pt idx="8">
                  <c:v>24.166923634903196</c:v>
                </c:pt>
                <c:pt idx="9">
                  <c:v>23.653903269643685</c:v>
                </c:pt>
                <c:pt idx="10">
                  <c:v>20.978868507933402</c:v>
                </c:pt>
                <c:pt idx="11">
                  <c:v>18.083967875397615</c:v>
                </c:pt>
                <c:pt idx="12">
                  <c:v>16.105175037968085</c:v>
                </c:pt>
                <c:pt idx="13">
                  <c:v>12.862153443291918</c:v>
                </c:pt>
                <c:pt idx="14">
                  <c:v>10.55356179962414</c:v>
                </c:pt>
                <c:pt idx="15">
                  <c:v>9.1610779510626212</c:v>
                </c:pt>
                <c:pt idx="16">
                  <c:v>7.2738958931437203</c:v>
                </c:pt>
                <c:pt idx="17">
                  <c:v>4.9836264053780663</c:v>
                </c:pt>
                <c:pt idx="18">
                  <c:v>3.6094647127186725</c:v>
                </c:pt>
                <c:pt idx="19">
                  <c:v>2.784967697123037</c:v>
                </c:pt>
                <c:pt idx="20">
                  <c:v>1.8322155902125243</c:v>
                </c:pt>
                <c:pt idx="21">
                  <c:v>1.4840946280721448</c:v>
                </c:pt>
                <c:pt idx="22">
                  <c:v>0.93442995100838733</c:v>
                </c:pt>
                <c:pt idx="23">
                  <c:v>0.54966467706375732</c:v>
                </c:pt>
                <c:pt idx="24">
                  <c:v>0.43973174165100576</c:v>
                </c:pt>
                <c:pt idx="25">
                  <c:v>0.38476527394463012</c:v>
                </c:pt>
                <c:pt idx="26">
                  <c:v>0.16489940311912718</c:v>
                </c:pt>
                <c:pt idx="27">
                  <c:v>1.8322155902125242E-2</c:v>
                </c:pt>
                <c:pt idx="28">
                  <c:v>3.6644311804250485E-2</c:v>
                </c:pt>
                <c:pt idx="29">
                  <c:v>9.1610779510626211E-2</c:v>
                </c:pt>
                <c:pt idx="30">
                  <c:v>9.1610779510626211E-2</c:v>
                </c:pt>
                <c:pt idx="31">
                  <c:v>3.6644311804250485E-2</c:v>
                </c:pt>
                <c:pt idx="32">
                  <c:v>3.6644311804250485E-2</c:v>
                </c:pt>
                <c:pt idx="33">
                  <c:v>7.3288623608500969E-2</c:v>
                </c:pt>
                <c:pt idx="34">
                  <c:v>0.10993293541275144</c:v>
                </c:pt>
                <c:pt idx="35">
                  <c:v>0.4763760534552563</c:v>
                </c:pt>
                <c:pt idx="36">
                  <c:v>0.98939641871476303</c:v>
                </c:pt>
                <c:pt idx="37">
                  <c:v>1.5940275634848959</c:v>
                </c:pt>
                <c:pt idx="38">
                  <c:v>2.3818802672762813</c:v>
                </c:pt>
                <c:pt idx="39">
                  <c:v>2.6567126058081603</c:v>
                </c:pt>
                <c:pt idx="40">
                  <c:v>2.803289853025162</c:v>
                </c:pt>
                <c:pt idx="41">
                  <c:v>2.1253700846465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3</c:f>
              <c:numCache>
                <c:formatCode>General</c:formatCode>
                <c:ptCount val="42"/>
                <c:pt idx="0">
                  <c:v>10.950166411683918</c:v>
                </c:pt>
                <c:pt idx="1">
                  <c:v>16.060807459313359</c:v>
                </c:pt>
                <c:pt idx="2">
                  <c:v>17.567168379925096</c:v>
                </c:pt>
                <c:pt idx="3">
                  <c:v>13.783308059005572</c:v>
                </c:pt>
                <c:pt idx="4">
                  <c:v>8.7909786685349776</c:v>
                </c:pt>
                <c:pt idx="5">
                  <c:v>5.2036002068256781</c:v>
                </c:pt>
                <c:pt idx="6">
                  <c:v>3.2958247351392846</c:v>
                </c:pt>
                <c:pt idx="7">
                  <c:v>2.4739812595180144</c:v>
                </c:pt>
                <c:pt idx="8">
                  <c:v>2.0535523349714007</c:v>
                </c:pt>
                <c:pt idx="9">
                  <c:v>1.867634016578928</c:v>
                </c:pt>
                <c:pt idx="10">
                  <c:v>1.8296052696350131</c:v>
                </c:pt>
                <c:pt idx="11">
                  <c:v>2.0514396268078499</c:v>
                </c:pt>
                <c:pt idx="12">
                  <c:v>2.2944010656161944</c:v>
                </c:pt>
                <c:pt idx="13">
                  <c:v>2.2922883574526436</c:v>
                </c:pt>
                <c:pt idx="14">
                  <c:v>2.0704540002798071</c:v>
                </c:pt>
                <c:pt idx="15">
                  <c:v>1.7345334022752261</c:v>
                </c:pt>
                <c:pt idx="16">
                  <c:v>1.3267807267099172</c:v>
                </c:pt>
                <c:pt idx="17">
                  <c:v>0.98663471237823464</c:v>
                </c:pt>
                <c:pt idx="18">
                  <c:v>0.69719369397177178</c:v>
                </c:pt>
                <c:pt idx="19">
                  <c:v>0.47958475312603693</c:v>
                </c:pt>
                <c:pt idx="20">
                  <c:v>0.40352725923820726</c:v>
                </c:pt>
                <c:pt idx="21">
                  <c:v>0.3316951816774793</c:v>
                </c:pt>
                <c:pt idx="22">
                  <c:v>0.23873602248124307</c:v>
                </c:pt>
                <c:pt idx="23">
                  <c:v>0.23239789799059057</c:v>
                </c:pt>
                <c:pt idx="24">
                  <c:v>0.27676476942515787</c:v>
                </c:pt>
                <c:pt idx="25">
                  <c:v>0.42042892454661385</c:v>
                </c:pt>
                <c:pt idx="26">
                  <c:v>0.85353409807453262</c:v>
                </c:pt>
                <c:pt idx="27">
                  <c:v>1.6183344532799309</c:v>
                </c:pt>
                <c:pt idx="28">
                  <c:v>2.6049691656581655</c:v>
                </c:pt>
                <c:pt idx="29">
                  <c:v>3.1838512024710908</c:v>
                </c:pt>
                <c:pt idx="30">
                  <c:v>3.0042710085692712</c:v>
                </c:pt>
                <c:pt idx="31">
                  <c:v>2.5817293758591062</c:v>
                </c:pt>
                <c:pt idx="32">
                  <c:v>2.218343571728365</c:v>
                </c:pt>
                <c:pt idx="33">
                  <c:v>1.6796029900229048</c:v>
                </c:pt>
                <c:pt idx="34">
                  <c:v>1.2042436532239693</c:v>
                </c:pt>
                <c:pt idx="35">
                  <c:v>0.92325346747170989</c:v>
                </c:pt>
                <c:pt idx="36">
                  <c:v>0.62958703273814542</c:v>
                </c:pt>
                <c:pt idx="37">
                  <c:v>0.40141455107465651</c:v>
                </c:pt>
                <c:pt idx="38">
                  <c:v>0.2894410184064628</c:v>
                </c:pt>
                <c:pt idx="39">
                  <c:v>0.20493269186442992</c:v>
                </c:pt>
                <c:pt idx="40">
                  <c:v>0.10563540817754118</c:v>
                </c:pt>
                <c:pt idx="41">
                  <c:v>3.802874694391482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3</c:f>
              <c:strCache>
                <c:ptCount val="4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</c:strCache>
            </c:strRef>
          </c:cat>
          <c:val>
            <c:numRef>
              <c:f>List1!$H$2:$H$43</c:f>
              <c:numCache>
                <c:formatCode>General</c:formatCode>
                <c:ptCount val="42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9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9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9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chart" Target="../charts/chart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chart" Target="../charts/chart9.xml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chart" Target="../charts/chart1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1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chart" Target="../charts/chart1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5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92024" y="1266074"/>
            <a:ext cx="3136392" cy="16312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chemeClr val="accent2"/>
                </a:solidFill>
              </a:rPr>
              <a:t>ČR patří mezi země s nadprůměrným počtem testů.</a:t>
            </a:r>
          </a:p>
          <a:p>
            <a:endParaRPr lang="cs-CZ" sz="2000" b="1" dirty="0">
              <a:solidFill>
                <a:schemeClr val="accent2"/>
              </a:solidFill>
            </a:endParaRPr>
          </a:p>
          <a:p>
            <a:r>
              <a:rPr lang="cs-CZ" sz="2000" b="1" dirty="0">
                <a:solidFill>
                  <a:schemeClr val="accent2"/>
                </a:solidFill>
              </a:rPr>
              <a:t>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4D98429-B5B6-4A5C-BE8E-737091C016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5059" y="714894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120028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0.9. 2021—24.10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9 18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2 4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6 94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 22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 92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 46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82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77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16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06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77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49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3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5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77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20.9. 2021 do 24.10. 2021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2600429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0.9. 2021—24.10. 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4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3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2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9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49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2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2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2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6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2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1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 5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4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9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59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42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78432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42. týden roku 2021.</a:t>
            </a:r>
            <a:r>
              <a:rPr lang="cs-CZ" sz="1100" dirty="0">
                <a:solidFill>
                  <a:srgbClr val="000000"/>
                </a:solidFill>
              </a:rPr>
              <a:t>.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Švédska za 31.—39. týden roku 2020, u Slovenska za 23., 27., 35., 37., 40. a 41. týden a u Bulharska za 43. týden roku 2020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 </a:t>
            </a:r>
            <a:r>
              <a:rPr lang="cs-CZ" sz="1100" dirty="0">
                <a:solidFill>
                  <a:srgbClr val="000000"/>
                </a:solidFill>
              </a:rPr>
              <a:t>U Lichtenštejnsku jsou údaje dostupné až od 29. týdne roku 2021</a:t>
            </a:r>
            <a:r>
              <a:rPr lang="cs-CZ" sz="1150" dirty="0">
                <a:solidFill>
                  <a:srgbClr val="000000"/>
                </a:solidFill>
              </a:rPr>
              <a:t>. 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61427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7512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11.10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428874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51429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11</a:t>
            </a:r>
            <a:r>
              <a:rPr lang="cs-CZ" sz="1600" dirty="0">
                <a:solidFill>
                  <a:srgbClr val="000000"/>
                </a:solidFill>
              </a:rPr>
              <a:t>.10.—17.1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18.10.—24.10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4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454219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8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52602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692640" y="6316981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8.10. 2021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914890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52431532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192794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794998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473440A-A00D-4FD9-9C64-073BC91449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35B1809-FF4A-4FA6-84D2-6B53B965FE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34204" y="6316981"/>
            <a:ext cx="2249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8.10. 2021</a:t>
            </a: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704159"/>
              </p:ext>
            </p:extLst>
          </p:nvPr>
        </p:nvGraphicFramePr>
        <p:xfrm>
          <a:off x="584948" y="766578"/>
          <a:ext cx="5400000" cy="5550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lká Britán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132630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DAD6DAE-1E8D-4CA5-8E94-BEE4F57505C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1151" y="6266552"/>
            <a:ext cx="6661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6082D44-DCFC-4188-A99C-A1E523338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725892" y="6316981"/>
            <a:ext cx="2258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28.10. 2021</a:t>
            </a: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3972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2. týdne roku 2021 (18.10.—24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36481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1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3394946"/>
            <a:ext cx="2904485" cy="22642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2. týdne roku 2021 (18.10.—24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01887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4.10. 2021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07389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59605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8.10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980"/>
            <a:ext cx="8355461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620085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9.10. 2021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385102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8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43" y="0"/>
            <a:ext cx="7994165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379359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28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9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68855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28.10. 2021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" y="2"/>
            <a:ext cx="801014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978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9.10. 2021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926705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8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8021597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501146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28.10. 2021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8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9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0. 2021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9.10. 2021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28.10. 2021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0769738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6045200" y="690389"/>
            <a:ext cx="6087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obtížně srovnatelná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24. 10. 2021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5E647DF2-0DD4-44DD-863D-4F4AD21AF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5059" y="714894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10.10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4.10. 2021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9039281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424425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9367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2. týdne roku 2021 (18.10.—24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56884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42. týdne roku 2021 (18.10.—24.10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28.10. 2021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0. týdnu vs. 39. týdnu a 42. týdnu vs. 41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9775193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1042019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obtížně 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5598</TotalTime>
  <Words>2993</Words>
  <Application>Microsoft Office PowerPoint</Application>
  <PresentationFormat>Širokoúhlá obrazovka</PresentationFormat>
  <Paragraphs>955</Paragraphs>
  <Slides>28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2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20.9. 2021 do 24.10. 2021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010</cp:revision>
  <dcterms:created xsi:type="dcterms:W3CDTF">2020-11-14T13:18:43Z</dcterms:created>
  <dcterms:modified xsi:type="dcterms:W3CDTF">2021-10-29T11:13:29Z</dcterms:modified>
</cp:coreProperties>
</file>